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5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6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8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9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1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2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3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4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5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6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7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8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9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20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21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22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>
  <p:sldMasterIdLst>
    <p:sldMasterId id="2147483648" r:id="rId1"/>
    <p:sldMasterId id="2147483662" r:id="rId2"/>
  </p:sldMasterIdLst>
  <p:notesMasterIdLst>
    <p:notesMasterId r:id="rId35"/>
  </p:notesMasterIdLst>
  <p:handoutMasterIdLst>
    <p:handoutMasterId r:id="rId36"/>
  </p:handoutMasterIdLst>
  <p:sldIdLst>
    <p:sldId id="288" r:id="rId3"/>
    <p:sldId id="499" r:id="rId4"/>
    <p:sldId id="502" r:id="rId5"/>
    <p:sldId id="707" r:id="rId6"/>
    <p:sldId id="504" r:id="rId7"/>
    <p:sldId id="505" r:id="rId8"/>
    <p:sldId id="545" r:id="rId9"/>
    <p:sldId id="681" r:id="rId10"/>
    <p:sldId id="708" r:id="rId11"/>
    <p:sldId id="640" r:id="rId12"/>
    <p:sldId id="672" r:id="rId13"/>
    <p:sldId id="548" r:id="rId14"/>
    <p:sldId id="484" r:id="rId15"/>
    <p:sldId id="604" r:id="rId16"/>
    <p:sldId id="506" r:id="rId17"/>
    <p:sldId id="643" r:id="rId18"/>
    <p:sldId id="683" r:id="rId19"/>
    <p:sldId id="533" r:id="rId20"/>
    <p:sldId id="517" r:id="rId21"/>
    <p:sldId id="675" r:id="rId22"/>
    <p:sldId id="676" r:id="rId23"/>
    <p:sldId id="705" r:id="rId24"/>
    <p:sldId id="678" r:id="rId25"/>
    <p:sldId id="684" r:id="rId26"/>
    <p:sldId id="680" r:id="rId27"/>
    <p:sldId id="709" r:id="rId28"/>
    <p:sldId id="710" r:id="rId29"/>
    <p:sldId id="711" r:id="rId30"/>
    <p:sldId id="712" r:id="rId31"/>
    <p:sldId id="520" r:id="rId32"/>
    <p:sldId id="599" r:id="rId33"/>
    <p:sldId id="474" r:id="rId34"/>
  </p:sldIdLst>
  <p:sldSz cx="9144000" cy="6858000" type="screen4x3"/>
  <p:notesSz cx="6858000" cy="9144000"/>
  <p:custDataLst>
    <p:tags r:id="rId37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4" userDrawn="1">
          <p15:clr>
            <a:srgbClr val="A4A3A4"/>
          </p15:clr>
        </p15:guide>
        <p15:guide id="2" pos="28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45">
          <p15:clr>
            <a:srgbClr val="A4A3A4"/>
          </p15:clr>
        </p15:guide>
        <p15:guide id="2" pos="214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9900FF"/>
    <a:srgbClr val="F59600"/>
    <a:srgbClr val="8E499C"/>
    <a:srgbClr val="E7B921"/>
    <a:srgbClr val="558ED5"/>
    <a:srgbClr val="996600"/>
    <a:srgbClr val="333300"/>
    <a:srgbClr val="94C949"/>
    <a:srgbClr val="66FFFF"/>
    <a:srgbClr val="F966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175" autoAdjust="0"/>
    <p:restoredTop sz="89510" autoAdjust="0"/>
  </p:normalViewPr>
  <p:slideViewPr>
    <p:cSldViewPr showGuides="1">
      <p:cViewPr varScale="1">
        <p:scale>
          <a:sx n="82" d="100"/>
          <a:sy n="82" d="100"/>
        </p:scale>
        <p:origin x="1476" y="96"/>
      </p:cViewPr>
      <p:guideLst>
        <p:guide orient="horz" pos="2134"/>
        <p:guide pos="2865"/>
      </p:guideLst>
    </p:cSldViewPr>
  </p:slideViewPr>
  <p:outlineViewPr>
    <p:cViewPr>
      <p:scale>
        <a:sx n="33" d="100"/>
        <a:sy n="33" d="100"/>
      </p:scale>
      <p:origin x="0" y="-15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3192" y="-78"/>
      </p:cViewPr>
      <p:guideLst>
        <p:guide orient="horz" pos="2845"/>
        <p:guide pos="214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viewProps" Target="viewProp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l"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60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60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l"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60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 eaLnBrk="1" hangingPunct="1">
              <a:defRPr sz="1200"/>
            </a:lvl1pPr>
          </a:lstStyle>
          <a:p>
            <a:pPr>
              <a:defRPr/>
            </a:pPr>
            <a:fld id="{4F1AB156-7B3C-4EEF-834F-54BD3F9E89F2}" type="slidenum">
              <a:rPr lang="zh-CN" altLang="en-US"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662617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l"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l"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 eaLnBrk="1" hangingPunct="1">
              <a:defRPr sz="1200"/>
            </a:lvl1pPr>
          </a:lstStyle>
          <a:p>
            <a:pPr>
              <a:defRPr/>
            </a:pPr>
            <a:fld id="{2E27CDDF-20A2-4C5A-B09D-180A0267EC57}" type="slidenum">
              <a:rPr lang="zh-CN" altLang="en-US"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98593383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27CDDF-20A2-4C5A-B09D-180A0267EC57}" type="slidenum">
              <a:rPr lang="zh-CN" altLang="en-US" smtClean="0"/>
              <a:t>1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1475962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27CDDF-20A2-4C5A-B09D-180A0267EC57}" type="slidenum">
              <a:rPr lang="zh-CN" altLang="en-US" smtClean="0"/>
              <a:t>15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7630067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27CDDF-20A2-4C5A-B09D-180A0267EC57}" type="slidenum">
              <a:rPr lang="zh-CN" altLang="en-US" smtClean="0"/>
              <a:t>16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555158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27CDDF-20A2-4C5A-B09D-180A0267EC57}" type="slidenum">
              <a:rPr lang="zh-CN" altLang="en-US" smtClean="0"/>
              <a:t>17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6746701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27CDDF-20A2-4C5A-B09D-180A0267EC57}" type="slidenum">
              <a:rPr lang="zh-CN" altLang="en-US" smtClean="0"/>
              <a:t>18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3862877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27CDDF-20A2-4C5A-B09D-180A0267EC57}" type="slidenum">
              <a:rPr lang="zh-CN" altLang="en-US" smtClean="0"/>
              <a:t>20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2683088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27CDDF-20A2-4C5A-B09D-180A0267EC57}" type="slidenum">
              <a:rPr lang="zh-CN" altLang="en-US" smtClean="0"/>
              <a:t>21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72958852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27CDDF-20A2-4C5A-B09D-180A0267EC57}" type="slidenum">
              <a:rPr lang="zh-CN" altLang="en-US" smtClean="0"/>
              <a:t>2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4302228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27CDDF-20A2-4C5A-B09D-180A0267EC57}" type="slidenum">
              <a:rPr lang="zh-CN" altLang="en-US" smtClean="0"/>
              <a:t>23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0499200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27CDDF-20A2-4C5A-B09D-180A0267EC57}" type="slidenum">
              <a:rPr lang="zh-CN" altLang="en-US" smtClean="0"/>
              <a:t>24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16816321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27CDDF-20A2-4C5A-B09D-180A0267EC57}" type="slidenum">
              <a:rPr lang="zh-CN" altLang="en-US" smtClean="0"/>
              <a:t>25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8095269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27CDDF-20A2-4C5A-B09D-180A0267EC57}" type="slidenum">
              <a:rPr lang="zh-CN" altLang="en-US" smtClean="0"/>
              <a:t>5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8413244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27CDDF-20A2-4C5A-B09D-180A0267EC57}" type="slidenum">
              <a:rPr lang="zh-CN" altLang="en-US" smtClean="0"/>
              <a:t>26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48545538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27CDDF-20A2-4C5A-B09D-180A0267EC57}" type="slidenum">
              <a:rPr lang="zh-CN" altLang="en-US" smtClean="0"/>
              <a:t>27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75861057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27CDDF-20A2-4C5A-B09D-180A0267EC57}" type="slidenum">
              <a:rPr lang="zh-CN" altLang="en-US" smtClean="0"/>
              <a:t>28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92260587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27CDDF-20A2-4C5A-B09D-180A0267EC57}" type="slidenum">
              <a:rPr lang="zh-CN" altLang="en-US" smtClean="0"/>
              <a:t>29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2569746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27CDDF-20A2-4C5A-B09D-180A0267EC57}" type="slidenum">
              <a:rPr lang="zh-CN" altLang="en-US" smtClean="0"/>
              <a:t>8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36694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27CDDF-20A2-4C5A-B09D-180A0267EC57}" type="slidenum">
              <a:rPr lang="zh-CN" altLang="en-US" smtClean="0"/>
              <a:t>9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9305101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27CDDF-20A2-4C5A-B09D-180A0267EC57}" type="slidenum">
              <a:rPr lang="zh-CN" altLang="en-US" smtClean="0"/>
              <a:t>10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5210060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27CDDF-20A2-4C5A-B09D-180A0267EC57}" type="slidenum">
              <a:rPr lang="zh-CN" altLang="en-US" smtClean="0"/>
              <a:t>11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6053026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27CDDF-20A2-4C5A-B09D-180A0267EC57}" type="slidenum">
              <a:rPr lang="zh-CN" altLang="en-US" smtClean="0"/>
              <a:t>1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7758845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27CDDF-20A2-4C5A-B09D-180A0267EC57}" type="slidenum">
              <a:rPr lang="zh-CN" altLang="en-US" smtClean="0"/>
              <a:t>13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6397132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27CDDF-20A2-4C5A-B09D-180A0267EC57}" type="slidenum">
              <a:rPr lang="zh-CN" altLang="en-US" smtClean="0"/>
              <a:t>14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3360700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624"/>
            <a:ext cx="7772400" cy="1469826"/>
          </a:xfr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2"/>
            <a:ext cx="6400800" cy="175200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7CFBCE-4491-428F-840B-59A3C2D98D86}" type="slidenum">
              <a:rPr lang="en-US" altLang="zh-TW"/>
              <a:t>‹#›</a:t>
            </a:fld>
            <a:endParaRPr lang="en-US" altLang="zh-TW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56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423E5A-7181-401A-93AD-14220AC98BCA}" type="slidenum">
              <a:rPr lang="en-US" altLang="zh-TW"/>
              <a:t>‹#›</a:t>
            </a:fld>
            <a:endParaRPr lang="en-US" altLang="zh-TW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5039"/>
            <a:ext cx="2057400" cy="5850731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5039"/>
            <a:ext cx="6019800" cy="5850731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5657AB-AAEA-4101-922E-F405E9E5E7A2}" type="slidenum">
              <a:rPr lang="en-US" altLang="zh-TW"/>
              <a:t>‹#›</a:t>
            </a:fld>
            <a:endParaRPr lang="en-US" altLang="zh-TW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85000"/>
                  <a:alpha val="80000"/>
                </a:schemeClr>
              </a:gs>
              <a:gs pos="40000">
                <a:schemeClr val="bg1"/>
              </a:gs>
              <a:gs pos="0">
                <a:srgbClr val="F8F8F8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1367642" y="260986"/>
            <a:ext cx="7549225" cy="529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添加幻灯片标题</a:t>
            </a:r>
          </a:p>
        </p:txBody>
      </p:sp>
      <p:sp>
        <p:nvSpPr>
          <p:cNvPr id="10" name="文本占位符 9"/>
          <p:cNvSpPr>
            <a:spLocks noGrp="1"/>
          </p:cNvSpPr>
          <p:nvPr>
            <p:ph type="body" sz="quarter" idx="11" hasCustomPrompt="1"/>
          </p:nvPr>
        </p:nvSpPr>
        <p:spPr>
          <a:xfrm>
            <a:off x="7696920" y="6437646"/>
            <a:ext cx="1368152" cy="2882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000" baseline="0">
                <a:solidFill>
                  <a:srgbClr val="777777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添加时间</a:t>
            </a:r>
          </a:p>
        </p:txBody>
      </p:sp>
      <p:sp>
        <p:nvSpPr>
          <p:cNvPr id="13" name="矩形 12"/>
          <p:cNvSpPr/>
          <p:nvPr userDrawn="1"/>
        </p:nvSpPr>
        <p:spPr>
          <a:xfrm>
            <a:off x="1331640" y="240215"/>
            <a:ext cx="36000" cy="432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85000"/>
                  <a:alpha val="80000"/>
                </a:schemeClr>
              </a:gs>
              <a:gs pos="40000">
                <a:schemeClr val="bg1"/>
              </a:gs>
              <a:gs pos="0">
                <a:srgbClr val="F8F8F8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1367642" y="260986"/>
            <a:ext cx="7549225" cy="529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添加幻灯片标题</a:t>
            </a:r>
          </a:p>
        </p:txBody>
      </p:sp>
      <p:sp>
        <p:nvSpPr>
          <p:cNvPr id="10" name="文本占位符 9"/>
          <p:cNvSpPr>
            <a:spLocks noGrp="1"/>
          </p:cNvSpPr>
          <p:nvPr>
            <p:ph type="body" sz="quarter" idx="11" hasCustomPrompt="1"/>
          </p:nvPr>
        </p:nvSpPr>
        <p:spPr>
          <a:xfrm>
            <a:off x="7696920" y="6437646"/>
            <a:ext cx="1368152" cy="2882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000" baseline="0">
                <a:solidFill>
                  <a:srgbClr val="777777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添加时间</a:t>
            </a:r>
          </a:p>
        </p:txBody>
      </p:sp>
      <p:sp>
        <p:nvSpPr>
          <p:cNvPr id="13" name="矩形 12"/>
          <p:cNvSpPr/>
          <p:nvPr userDrawn="1"/>
        </p:nvSpPr>
        <p:spPr>
          <a:xfrm>
            <a:off x="1331640" y="240215"/>
            <a:ext cx="36000" cy="432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4FCF8-24A3-4659-8009-84914DBE2E07}" type="datetimeFigureOut">
              <a:rPr lang="zh-CN" altLang="en-US" smtClean="0"/>
              <a:t>2025/10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70964-F3B6-462F-BF3E-BE6E8922CCC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4FCF8-24A3-4659-8009-84914DBE2E07}" type="datetimeFigureOut">
              <a:rPr lang="zh-CN" altLang="en-US" smtClean="0"/>
              <a:t>2025/10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70964-F3B6-462F-BF3E-BE6E8922CCC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4589465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4FCF8-24A3-4659-8009-84914DBE2E07}" type="datetimeFigureOut">
              <a:rPr lang="zh-CN" altLang="en-US" smtClean="0"/>
              <a:t>2025/10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70964-F3B6-462F-BF3E-BE6E8922CCC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4FCF8-24A3-4659-8009-84914DBE2E07}" type="datetimeFigureOut">
              <a:rPr lang="zh-CN" altLang="en-US" smtClean="0"/>
              <a:t>2025/10/1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70964-F3B6-462F-BF3E-BE6E8922CCC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365127"/>
            <a:ext cx="78867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30239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30239" y="2505075"/>
            <a:ext cx="386873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4FCF8-24A3-4659-8009-84914DBE2E07}" type="datetimeFigureOut">
              <a:rPr lang="zh-CN" altLang="en-US" smtClean="0"/>
              <a:t>2025/10/10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70964-F3B6-462F-BF3E-BE6E8922CCC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4FCF8-24A3-4659-8009-84914DBE2E07}" type="datetimeFigureOut">
              <a:rPr lang="zh-CN" altLang="en-US" smtClean="0"/>
              <a:t>2025/10/1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70964-F3B6-462F-BF3E-BE6E8922CCC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56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6CFB23-1F43-4AAF-827D-BF58B87E92CB}" type="slidenum">
              <a:rPr lang="en-US" altLang="zh-TW"/>
              <a:t>‹#›</a:t>
            </a:fld>
            <a:endParaRPr lang="en-US" altLang="zh-TW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4FCF8-24A3-4659-8009-84914DBE2E07}" type="datetimeFigureOut">
              <a:rPr lang="zh-CN" altLang="en-US" smtClean="0"/>
              <a:t>2025/10/10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70964-F3B6-462F-BF3E-BE6E8922CCC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9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788" y="987427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9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4FCF8-24A3-4659-8009-84914DBE2E07}" type="datetimeFigureOut">
              <a:rPr lang="zh-CN" altLang="en-US" smtClean="0"/>
              <a:t>2025/10/1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70964-F3B6-462F-BF3E-BE6E8922CCC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9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788" y="987427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9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4FCF8-24A3-4659-8009-84914DBE2E07}" type="datetimeFigureOut">
              <a:rPr lang="zh-CN" altLang="en-US" smtClean="0"/>
              <a:t>2025/10/1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70964-F3B6-462F-BF3E-BE6E8922CCC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4FCF8-24A3-4659-8009-84914DBE2E07}" type="datetimeFigureOut">
              <a:rPr lang="zh-CN" altLang="en-US" smtClean="0"/>
              <a:t>2025/10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70964-F3B6-462F-BF3E-BE6E8922CCC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762625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4FCF8-24A3-4659-8009-84914DBE2E07}" type="datetimeFigureOut">
              <a:rPr lang="zh-CN" altLang="en-US" smtClean="0"/>
              <a:t>2025/10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70964-F3B6-462F-BF3E-BE6E8922CCC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85000"/>
                  <a:alpha val="80000"/>
                </a:schemeClr>
              </a:gs>
              <a:gs pos="40000">
                <a:schemeClr val="bg1"/>
              </a:gs>
              <a:gs pos="0">
                <a:srgbClr val="F8F8F8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1367642" y="260986"/>
            <a:ext cx="7549225" cy="529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添加幻灯片标题</a:t>
            </a:r>
          </a:p>
        </p:txBody>
      </p:sp>
      <p:sp>
        <p:nvSpPr>
          <p:cNvPr id="10" name="文本占位符 9"/>
          <p:cNvSpPr>
            <a:spLocks noGrp="1"/>
          </p:cNvSpPr>
          <p:nvPr>
            <p:ph type="body" sz="quarter" idx="11" hasCustomPrompt="1"/>
          </p:nvPr>
        </p:nvSpPr>
        <p:spPr>
          <a:xfrm>
            <a:off x="7696920" y="6437646"/>
            <a:ext cx="1368152" cy="2882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000" baseline="0">
                <a:solidFill>
                  <a:srgbClr val="777777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添加时间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85000"/>
                  <a:alpha val="80000"/>
                </a:schemeClr>
              </a:gs>
              <a:gs pos="40000">
                <a:schemeClr val="bg1"/>
              </a:gs>
              <a:gs pos="0">
                <a:srgbClr val="F8F8F8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1367642" y="260986"/>
            <a:ext cx="7549225" cy="529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添加幻灯片标题</a:t>
            </a:r>
          </a:p>
        </p:txBody>
      </p:sp>
      <p:sp>
        <p:nvSpPr>
          <p:cNvPr id="10" name="文本占位符 9"/>
          <p:cNvSpPr>
            <a:spLocks noGrp="1"/>
          </p:cNvSpPr>
          <p:nvPr>
            <p:ph type="body" sz="quarter" idx="11" hasCustomPrompt="1"/>
          </p:nvPr>
        </p:nvSpPr>
        <p:spPr>
          <a:xfrm>
            <a:off x="7696920" y="6437646"/>
            <a:ext cx="1368152" cy="2882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000" baseline="0">
                <a:solidFill>
                  <a:srgbClr val="777777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添加时间</a:t>
            </a:r>
          </a:p>
        </p:txBody>
      </p:sp>
      <p:sp>
        <p:nvSpPr>
          <p:cNvPr id="13" name="矩形 12"/>
          <p:cNvSpPr/>
          <p:nvPr userDrawn="1"/>
        </p:nvSpPr>
        <p:spPr>
          <a:xfrm>
            <a:off x="1331640" y="240215"/>
            <a:ext cx="36000" cy="432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7697"/>
            <a:ext cx="7772400" cy="1360884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7506"/>
            <a:ext cx="7772400" cy="15001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0E742C-E43A-4800-A55A-4B3428220156}" type="slidenum">
              <a:rPr lang="en-US" altLang="zh-TW"/>
              <a:t>‹#›</a:t>
            </a:fld>
            <a:endParaRPr lang="en-US" altLang="zh-TW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56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56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A9646E-5F64-4982-A7C2-9E369F0FF399}" type="slidenum">
              <a:rPr lang="en-US" altLang="zh-TW"/>
              <a:t>‹#›</a:t>
            </a:fld>
            <a:endParaRPr lang="en-US" altLang="zh-TW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909"/>
            <a:ext cx="4040188" cy="63936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5272"/>
            <a:ext cx="4040188" cy="395049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31" y="1535909"/>
            <a:ext cx="4041775" cy="63936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31" y="2175272"/>
            <a:ext cx="4041775" cy="395049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F00424-2EDD-436D-B598-1B6CC97454D4}" type="slidenum">
              <a:rPr lang="en-US" altLang="zh-TW"/>
              <a:t>‹#›</a:t>
            </a:fld>
            <a:endParaRPr lang="en-US" altLang="zh-TW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3878B6-E4D6-4E09-8C1D-DEDA36A3C01E}" type="slidenum">
              <a:rPr lang="en-US" altLang="zh-TW"/>
              <a:t>‹#›</a:t>
            </a:fld>
            <a:endParaRPr lang="en-US" altLang="zh-TW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88616C-0E2C-454A-9186-1B753233191F}" type="slidenum">
              <a:rPr lang="en-US" altLang="zh-TW"/>
              <a:t>‹#›</a:t>
            </a:fld>
            <a:endParaRPr lang="en-US" altLang="zh-TW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5" y="273252"/>
            <a:ext cx="3008313" cy="116264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254"/>
            <a:ext cx="5111750" cy="585251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5" y="1435894"/>
            <a:ext cx="3008313" cy="4689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7CB9C2-0D0E-425F-B592-DEF40FE652E5}" type="slidenum">
              <a:rPr lang="en-US" altLang="zh-TW"/>
              <a:t>‹#›</a:t>
            </a:fld>
            <a:endParaRPr lang="en-US" altLang="zh-TW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3"/>
            <a:ext cx="5486400" cy="56614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577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6746"/>
            <a:ext cx="5486400" cy="8054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DD5C2F-7F3E-4672-8347-DEFDB1A65569}" type="slidenum">
              <a:rPr lang="en-US" altLang="zh-TW"/>
              <a:t>‹#›</a:t>
            </a:fld>
            <a:endParaRPr lang="en-US" altLang="zh-TW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1536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783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ctr" eaLnBrk="1" hangingPunct="1">
              <a:defRPr sz="14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15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783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ctr" eaLnBrk="1" hangingPunct="1">
              <a:defRPr sz="14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783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 eaLnBrk="1" hangingPunct="1">
              <a:defRPr sz="1400"/>
            </a:lvl1pPr>
          </a:lstStyle>
          <a:p>
            <a:pPr>
              <a:defRPr/>
            </a:pPr>
            <a:fld id="{0B9CFB75-0BC2-47D7-B687-A0D6ED91E262}" type="slidenum">
              <a:rPr lang="en-US" altLang="zh-TW"/>
              <a:t>‹#›</a:t>
            </a:fld>
            <a:endParaRPr lang="en-US" altLang="zh-TW"/>
          </a:p>
        </p:txBody>
      </p:sp>
      <p:sp>
        <p:nvSpPr>
          <p:cNvPr id="15375" name="Text Box 15"/>
          <p:cNvSpPr txBox="1">
            <a:spLocks noChangeArrowheads="1"/>
          </p:cNvSpPr>
          <p:nvPr/>
        </p:nvSpPr>
        <p:spPr bwMode="auto">
          <a:xfrm>
            <a:off x="4298667" y="2486920"/>
            <a:ext cx="1338829" cy="276999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>
            <a:spAutoFit/>
          </a:bodyPr>
          <a:lstStyle/>
          <a:p>
            <a:pPr algn="ctr" eaLnBrk="1" hangingPunct="1">
              <a:defRPr/>
            </a:pPr>
            <a:r>
              <a:rPr lang="zh-CN" altLang="en-US" sz="1200" b="0" spc="600" dirty="0">
                <a:latin typeface="黑体" panose="02010609060101010101" pitchFamily="49" charset="-122"/>
                <a:ea typeface="黑体" panose="02010609060101010101" pitchFamily="49" charset="-122"/>
              </a:rPr>
              <a:t>加速器中心</a:t>
            </a:r>
          </a:p>
        </p:txBody>
      </p:sp>
      <p:pic>
        <p:nvPicPr>
          <p:cNvPr id="15376" name="Picture 16"/>
          <p:cNvPicPr>
            <a:picLocks noChangeAspect="1" noChangeArrowheads="1"/>
          </p:cNvPicPr>
          <p:nvPr/>
        </p:nvPicPr>
        <p:blipFill>
          <a:blip r:embed="rId15" cstate="email"/>
          <a:stretch>
            <a:fillRect/>
          </a:stretch>
        </p:blipFill>
        <p:spPr bwMode="auto">
          <a:xfrm>
            <a:off x="2769378" y="2000297"/>
            <a:ext cx="1032491" cy="736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文本框 1"/>
          <p:cNvSpPr txBox="1"/>
          <p:nvPr userDrawn="1"/>
        </p:nvSpPr>
        <p:spPr>
          <a:xfrm>
            <a:off x="3792912" y="1916834"/>
            <a:ext cx="241123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600" b="0" dirty="0">
                <a:latin typeface="Impact" panose="020B0806030902050204" pitchFamily="34" charset="0"/>
              </a:rPr>
              <a:t>Accelerator</a:t>
            </a:r>
            <a:endParaRPr lang="zh-CN" altLang="en-US" sz="3600" b="0" dirty="0">
              <a:latin typeface="Impact" panose="020B080603090205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PMingLiU" panose="02020500000000000000" pitchFamily="18" charset="-12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panose="020B0604020202020204" pitchFamily="34" charset="0"/>
          <a:ea typeface="PMingLiU" panose="02020500000000000000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panose="020B0604020202020204" pitchFamily="34" charset="0"/>
          <a:ea typeface="PMingLiU" panose="02020500000000000000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panose="020B0604020202020204" pitchFamily="34" charset="0"/>
          <a:ea typeface="PMingLiU" panose="02020500000000000000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panose="020B0604020202020204" pitchFamily="34" charset="0"/>
          <a:ea typeface="PMingLiU" panose="02020500000000000000" pitchFamily="18" charset="-120"/>
        </a:defRPr>
      </a:lvl5pPr>
      <a:lvl6pPr marL="4572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panose="020B0604020202020204" pitchFamily="34" charset="0"/>
          <a:ea typeface="PMingLiU" panose="02020500000000000000" pitchFamily="18" charset="-120"/>
        </a:defRPr>
      </a:lvl6pPr>
      <a:lvl7pPr marL="9144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panose="020B0604020202020204" pitchFamily="34" charset="0"/>
          <a:ea typeface="PMingLiU" panose="02020500000000000000" pitchFamily="18" charset="-120"/>
        </a:defRPr>
      </a:lvl7pPr>
      <a:lvl8pPr marL="13716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panose="020B0604020202020204" pitchFamily="34" charset="0"/>
          <a:ea typeface="PMingLiU" panose="02020500000000000000" pitchFamily="18" charset="-120"/>
        </a:defRPr>
      </a:lvl8pPr>
      <a:lvl9pPr marL="18288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panose="020B0604020202020204" pitchFamily="34" charset="0"/>
          <a:ea typeface="PMingLiU" panose="02020500000000000000" pitchFamily="18" charset="-12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PMingLiU" panose="02020500000000000000" pitchFamily="18" charset="-12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PMingLiU" panose="02020500000000000000" pitchFamily="18" charset="-12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PMingLiU" panose="02020500000000000000" pitchFamily="18" charset="-12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PMingLiU" panose="02020500000000000000" pitchFamily="18" charset="-12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PMingLiU" panose="02020500000000000000" pitchFamily="18" charset="-12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65127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44FCF8-24A3-4659-8009-84914DBE2E07}" type="datetimeFigureOut">
              <a:rPr lang="zh-CN" altLang="en-US" smtClean="0"/>
              <a:t>2025/10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870964-F3B6-462F-BF3E-BE6E8922CCC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29.xml"/><Relationship Id="rId7" Type="http://schemas.openxmlformats.org/officeDocument/2006/relationships/slideLayout" Target="../slideLayouts/slideLayout25.xml"/><Relationship Id="rId12" Type="http://schemas.openxmlformats.org/officeDocument/2006/relationships/image" Target="../media/image12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image" Target="../media/image11.png"/><Relationship Id="rId5" Type="http://schemas.openxmlformats.org/officeDocument/2006/relationships/tags" Target="../tags/tag31.xml"/><Relationship Id="rId10" Type="http://schemas.openxmlformats.org/officeDocument/2006/relationships/image" Target="../media/image6.png"/><Relationship Id="rId4" Type="http://schemas.openxmlformats.org/officeDocument/2006/relationships/tags" Target="../tags/tag30.xml"/><Relationship Id="rId9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5.xml"/><Relationship Id="rId4" Type="http://schemas.openxmlformats.org/officeDocument/2006/relationships/tags" Target="../tags/tag3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9.xml"/><Relationship Id="rId7" Type="http://schemas.openxmlformats.org/officeDocument/2006/relationships/notesSlide" Target="../notesSlides/notesSlide7.xml"/><Relationship Id="rId12" Type="http://schemas.openxmlformats.org/officeDocument/2006/relationships/image" Target="../media/image15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14.png"/><Relationship Id="rId5" Type="http://schemas.openxmlformats.org/officeDocument/2006/relationships/tags" Target="../tags/tag41.xml"/><Relationship Id="rId10" Type="http://schemas.openxmlformats.org/officeDocument/2006/relationships/image" Target="../media/image13.png"/><Relationship Id="rId4" Type="http://schemas.openxmlformats.org/officeDocument/2006/relationships/tags" Target="../tags/tag40.xml"/><Relationship Id="rId9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4" Type="http://schemas.openxmlformats.org/officeDocument/2006/relationships/notesSlide" Target="../notesSlides/notesSlide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46.xml"/><Relationship Id="rId7" Type="http://schemas.openxmlformats.org/officeDocument/2006/relationships/notesSlide" Target="../notesSlides/notesSlide9.xml"/><Relationship Id="rId12" Type="http://schemas.openxmlformats.org/officeDocument/2006/relationships/image" Target="../media/image6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5.png"/><Relationship Id="rId5" Type="http://schemas.openxmlformats.org/officeDocument/2006/relationships/tags" Target="../tags/tag48.xml"/><Relationship Id="rId10" Type="http://schemas.openxmlformats.org/officeDocument/2006/relationships/image" Target="../media/image18.png"/><Relationship Id="rId4" Type="http://schemas.openxmlformats.org/officeDocument/2006/relationships/tags" Target="../tags/tag47.xml"/><Relationship Id="rId9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4" Type="http://schemas.openxmlformats.org/officeDocument/2006/relationships/notesSlide" Target="../notesSlides/notesSlide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4" Type="http://schemas.openxmlformats.org/officeDocument/2006/relationships/notesSlide" Target="../notesSlides/notesSlide1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55.xml"/><Relationship Id="rId7" Type="http://schemas.openxmlformats.org/officeDocument/2006/relationships/image" Target="../media/image19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5.xml"/><Relationship Id="rId4" Type="http://schemas.openxmlformats.org/officeDocument/2006/relationships/tags" Target="../tags/tag56.xml"/><Relationship Id="rId9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9.xml"/><Relationship Id="rId7" Type="http://schemas.openxmlformats.org/officeDocument/2006/relationships/image" Target="../media/image5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5.xml"/><Relationship Id="rId4" Type="http://schemas.openxmlformats.org/officeDocument/2006/relationships/tags" Target="../tags/tag6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22.pn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2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25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1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18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3.xml"/><Relationship Id="rId7" Type="http://schemas.openxmlformats.org/officeDocument/2006/relationships/image" Target="../media/image5.pn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5.xml"/><Relationship Id="rId10" Type="http://schemas.openxmlformats.org/officeDocument/2006/relationships/image" Target="../media/image27.png"/><Relationship Id="rId4" Type="http://schemas.openxmlformats.org/officeDocument/2006/relationships/tags" Target="../tags/tag74.xml"/><Relationship Id="rId9" Type="http://schemas.openxmlformats.org/officeDocument/2006/relationships/image" Target="../media/image26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2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79.xml"/><Relationship Id="rId7" Type="http://schemas.openxmlformats.org/officeDocument/2006/relationships/image" Target="../media/image6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5.png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2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2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slideLayout" Target="../slideLayouts/slideLayout25.xml"/><Relationship Id="rId4" Type="http://schemas.openxmlformats.org/officeDocument/2006/relationships/tags" Target="../tags/tag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5.xml"/><Relationship Id="rId4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25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8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25.xml"/><Relationship Id="rId5" Type="http://schemas.openxmlformats.org/officeDocument/2006/relationships/tags" Target="../tags/tag20.xml"/><Relationship Id="rId10" Type="http://schemas.openxmlformats.org/officeDocument/2006/relationships/image" Target="../media/image8.png"/><Relationship Id="rId4" Type="http://schemas.openxmlformats.org/officeDocument/2006/relationships/tags" Target="../tags/tag19.xml"/><Relationship Id="rId9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23.xml"/><Relationship Id="rId7" Type="http://schemas.openxmlformats.org/officeDocument/2006/relationships/slideLayout" Target="../slideLayouts/slideLayout25.xml"/><Relationship Id="rId12" Type="http://schemas.openxmlformats.org/officeDocument/2006/relationships/image" Target="../media/image10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image" Target="../media/image9.png"/><Relationship Id="rId5" Type="http://schemas.openxmlformats.org/officeDocument/2006/relationships/tags" Target="../tags/tag25.xml"/><Relationship Id="rId10" Type="http://schemas.openxmlformats.org/officeDocument/2006/relationships/image" Target="../media/image6.png"/><Relationship Id="rId4" Type="http://schemas.openxmlformats.org/officeDocument/2006/relationships/tags" Target="../tags/tag24.xml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40" name="Text Box 4"/>
          <p:cNvSpPr txBox="1">
            <a:spLocks noChangeArrowheads="1"/>
          </p:cNvSpPr>
          <p:nvPr/>
        </p:nvSpPr>
        <p:spPr bwMode="auto">
          <a:xfrm>
            <a:off x="0" y="2807939"/>
            <a:ext cx="9144000" cy="110799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zh-CN" altLang="en-US" sz="2400" spc="300" dirty="0">
                <a:ea typeface="微软雅黑" panose="020B0503020204020204" pitchFamily="34" charset="-122"/>
              </a:rPr>
              <a:t>报告人：贺祥</a:t>
            </a:r>
            <a:endParaRPr lang="zh-CN" altLang="en-US" sz="2800" spc="300" dirty="0">
              <a:ea typeface="微软雅黑" panose="020B0503020204020204" pitchFamily="34" charset="-122"/>
            </a:endParaRPr>
          </a:p>
          <a:p>
            <a:pPr algn="ctr" eaLnBrk="1" hangingPunct="1">
              <a:lnSpc>
                <a:spcPct val="150000"/>
              </a:lnSpc>
              <a:defRPr/>
            </a:pPr>
            <a:r>
              <a:rPr lang="zh-CN" altLang="en-US" sz="2000" dirty="0">
                <a:ea typeface="微软雅黑" panose="020B0503020204020204" pitchFamily="34" charset="-122"/>
              </a:rPr>
              <a:t>（撰写人员：贺祥、马新朋、甘楠、彭永宜、施华、肖欧正等）</a:t>
            </a:r>
            <a:endParaRPr lang="en-US" altLang="zh-CN" sz="2000" dirty="0">
              <a:ea typeface="微软雅黑" panose="020B0503020204020204" pitchFamily="34" charset="-122"/>
            </a:endParaRPr>
          </a:p>
        </p:txBody>
      </p:sp>
      <p:grpSp>
        <p:nvGrpSpPr>
          <p:cNvPr id="2" name="Group 5"/>
          <p:cNvGrpSpPr/>
          <p:nvPr/>
        </p:nvGrpSpPr>
        <p:grpSpPr bwMode="auto">
          <a:xfrm>
            <a:off x="611560" y="3861052"/>
            <a:ext cx="7915200" cy="1554165"/>
            <a:chOff x="1582" y="2796"/>
            <a:chExt cx="2990" cy="979"/>
          </a:xfrm>
        </p:grpSpPr>
        <p:sp>
          <p:nvSpPr>
            <p:cNvPr id="16388" name="Text Box 6"/>
            <p:cNvSpPr txBox="1">
              <a:spLocks noChangeArrowheads="1"/>
            </p:cNvSpPr>
            <p:nvPr/>
          </p:nvSpPr>
          <p:spPr bwMode="auto">
            <a:xfrm>
              <a:off x="1582" y="2844"/>
              <a:ext cx="2990" cy="9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50000"/>
                </a:lnSpc>
              </a:pPr>
              <a:r>
                <a:rPr lang="en-US" altLang="zh-CN" sz="2400" dirty="0">
                  <a:latin typeface="+mn-lt"/>
                  <a:ea typeface="微软雅黑" panose="020B0503020204020204" pitchFamily="34" charset="-122"/>
                </a:rPr>
                <a:t>BEPCII</a:t>
              </a:r>
              <a:r>
                <a:rPr lang="zh-CN" altLang="en-US" sz="2400" dirty="0">
                  <a:latin typeface="+mn-lt"/>
                  <a:ea typeface="微软雅黑" panose="020B0503020204020204" pitchFamily="34" charset="-122"/>
                </a:rPr>
                <a:t>微波系统运行总结及暑期检修</a:t>
              </a:r>
              <a:endParaRPr lang="en-US" altLang="zh-CN" sz="2400" dirty="0">
                <a:latin typeface="+mn-lt"/>
                <a:ea typeface="微软雅黑" panose="020B0503020204020204" pitchFamily="34" charset="-122"/>
              </a:endParaRPr>
            </a:p>
            <a:p>
              <a:pPr algn="ctr" eaLnBrk="1" hangingPunct="1">
                <a:lnSpc>
                  <a:spcPct val="150000"/>
                </a:lnSpc>
              </a:pPr>
              <a:r>
                <a:rPr lang="zh-CN" altLang="en-US" dirty="0">
                  <a:latin typeface="+mn-lt"/>
                  <a:ea typeface="微软雅黑" panose="020B0503020204020204" pitchFamily="34" charset="-122"/>
                </a:rPr>
                <a:t>河南</a:t>
              </a:r>
              <a:r>
                <a:rPr lang="zh-CN" altLang="en-US" dirty="0" smtClean="0">
                  <a:latin typeface="+mn-lt"/>
                  <a:ea typeface="微软雅黑" panose="020B0503020204020204" pitchFamily="34" charset="-122"/>
                </a:rPr>
                <a:t> </a:t>
              </a:r>
              <a:r>
                <a:rPr lang="en-US" altLang="zh-CN" dirty="0">
                  <a:latin typeface="+mn-lt"/>
                  <a:ea typeface="微软雅黑" panose="020B0503020204020204" pitchFamily="34" charset="-122"/>
                </a:rPr>
                <a:t>· </a:t>
              </a:r>
              <a:r>
                <a:rPr lang="zh-CN" altLang="en-US" dirty="0">
                  <a:latin typeface="+mn-lt"/>
                  <a:ea typeface="微软雅黑" panose="020B0503020204020204" pitchFamily="34" charset="-122"/>
                </a:rPr>
                <a:t>郑州</a:t>
              </a:r>
              <a:endParaRPr lang="en-US" altLang="zh-CN" dirty="0">
                <a:latin typeface="+mn-lt"/>
                <a:ea typeface="微软雅黑" panose="020B0503020204020204" pitchFamily="34" charset="-122"/>
              </a:endParaRPr>
            </a:p>
            <a:p>
              <a:pPr algn="ctr" eaLnBrk="1" hangingPunct="1">
                <a:lnSpc>
                  <a:spcPct val="150000"/>
                </a:lnSpc>
              </a:pPr>
              <a:r>
                <a:rPr lang="en-US" altLang="zh-CN" dirty="0" smtClean="0">
                  <a:latin typeface="+mn-lt"/>
                  <a:ea typeface="微软雅黑" panose="020B0503020204020204" pitchFamily="34" charset="-122"/>
                </a:rPr>
                <a:t>2025</a:t>
              </a:r>
              <a:r>
                <a:rPr lang="zh-CN" altLang="en-US" dirty="0" smtClean="0">
                  <a:latin typeface="+mn-lt"/>
                  <a:ea typeface="微软雅黑" panose="020B0503020204020204" pitchFamily="34" charset="-122"/>
                </a:rPr>
                <a:t>年</a:t>
              </a:r>
              <a:r>
                <a:rPr lang="en-US" altLang="zh-CN" dirty="0" smtClean="0">
                  <a:latin typeface="+mn-lt"/>
                  <a:ea typeface="微软雅黑" panose="020B0503020204020204" pitchFamily="34" charset="-122"/>
                </a:rPr>
                <a:t>10</a:t>
              </a:r>
              <a:r>
                <a:rPr lang="zh-CN" altLang="en-US" dirty="0" smtClean="0">
                  <a:latin typeface="+mn-lt"/>
                  <a:ea typeface="微软雅黑" panose="020B0503020204020204" pitchFamily="34" charset="-122"/>
                </a:rPr>
                <a:t>月</a:t>
              </a:r>
              <a:endParaRPr lang="zh-CN" altLang="en-US" dirty="0">
                <a:latin typeface="+mn-lt"/>
                <a:ea typeface="微软雅黑" panose="020B0503020204020204" pitchFamily="34" charset="-122"/>
              </a:endParaRPr>
            </a:p>
          </p:txBody>
        </p:sp>
        <p:sp>
          <p:nvSpPr>
            <p:cNvPr id="16389" name="Line 7"/>
            <p:cNvSpPr>
              <a:spLocks noChangeShapeType="1"/>
            </p:cNvSpPr>
            <p:nvPr/>
          </p:nvSpPr>
          <p:spPr bwMode="auto">
            <a:xfrm>
              <a:off x="1592" y="2796"/>
              <a:ext cx="2948" cy="0"/>
            </a:xfrm>
            <a:prstGeom prst="line">
              <a:avLst/>
            </a:prstGeom>
            <a:noFill/>
            <a:ln w="9525">
              <a:solidFill>
                <a:srgbClr val="C0C0C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4" name="矩形 3"/>
          <p:cNvSpPr/>
          <p:nvPr/>
        </p:nvSpPr>
        <p:spPr>
          <a:xfrm>
            <a:off x="2140986" y="1484784"/>
            <a:ext cx="479810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中宋" panose="02010600040101010101" pitchFamily="2" charset="-122"/>
                <a:ea typeface="华文中宋" panose="02010600040101010101" pitchFamily="2" charset="-122"/>
              </a:rPr>
              <a:t>BEPCII</a:t>
            </a:r>
            <a:r>
              <a:rPr lang="zh-CN" altLang="en-US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中宋" panose="02010600040101010101" pitchFamily="2" charset="-122"/>
                <a:ea typeface="华文中宋" panose="02010600040101010101" pitchFamily="2" charset="-122"/>
              </a:rPr>
              <a:t>年会</a:t>
            </a:r>
            <a:r>
              <a:rPr lang="en-US" altLang="zh-CN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中宋" panose="02010600040101010101" pitchFamily="2" charset="-122"/>
                <a:ea typeface="华文中宋" panose="02010600040101010101" pitchFamily="2" charset="-122"/>
              </a:rPr>
              <a:t>·2025</a:t>
            </a:r>
            <a:endParaRPr lang="zh-CN" altLang="en-US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</p:spTree>
    <p:custDataLst>
      <p:tags r:id="rId1"/>
    </p:custDataLst>
  </p:cSld>
  <p:clrMapOvr>
    <a:masterClrMapping/>
  </p:clrMapOvr>
  <p:transition advTm="8403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22"/>
          <p:cNvSpPr/>
          <p:nvPr>
            <p:custDataLst>
              <p:tags r:id="rId2"/>
            </p:custDataLst>
          </p:nvPr>
        </p:nvSpPr>
        <p:spPr bwMode="auto">
          <a:xfrm>
            <a:off x="2555778" y="1060687"/>
            <a:ext cx="3395553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ctr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endParaRPr lang="en-US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微波</a:t>
            </a:r>
            <a:r>
              <a:rPr lang="zh-CN" altLang="en-US" dirty="0" smtClean="0"/>
              <a:t>激励系统</a:t>
            </a:r>
            <a:endParaRPr lang="zh-CN" altLang="en-US" dirty="0"/>
          </a:p>
        </p:txBody>
      </p:sp>
      <p:sp>
        <p:nvSpPr>
          <p:cNvPr id="4" name="Rectangle 22"/>
          <p:cNvSpPr/>
          <p:nvPr>
            <p:custDataLst>
              <p:tags r:id="rId3"/>
            </p:custDataLst>
          </p:nvPr>
        </p:nvSpPr>
        <p:spPr bwMode="auto">
          <a:xfrm>
            <a:off x="0" y="1062262"/>
            <a:ext cx="5436096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微波源监测子系统</a:t>
            </a:r>
            <a:endParaRPr lang="en-US" altLang="zh-CN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6" name="Rectangle 22"/>
          <p:cNvSpPr/>
          <p:nvPr>
            <p:custDataLst>
              <p:tags r:id="rId4"/>
            </p:custDataLst>
          </p:nvPr>
        </p:nvSpPr>
        <p:spPr bwMode="auto">
          <a:xfrm>
            <a:off x="5677272" y="1052738"/>
            <a:ext cx="3466728" cy="585589"/>
          </a:xfrm>
          <a:custGeom>
            <a:avLst/>
            <a:gdLst>
              <a:gd name="connsiteX0" fmla="*/ 0 w 4206255"/>
              <a:gd name="connsiteY0" fmla="*/ 0 h 576064"/>
              <a:gd name="connsiteX1" fmla="*/ 4206255 w 4206255"/>
              <a:gd name="connsiteY1" fmla="*/ 0 h 576064"/>
              <a:gd name="connsiteX2" fmla="*/ 4206255 w 4206255"/>
              <a:gd name="connsiteY2" fmla="*/ 576064 h 576064"/>
              <a:gd name="connsiteX3" fmla="*/ 0 w 4206255"/>
              <a:gd name="connsiteY3" fmla="*/ 576064 h 576064"/>
              <a:gd name="connsiteX4" fmla="*/ 0 w 4206255"/>
              <a:gd name="connsiteY4" fmla="*/ 0 h 576064"/>
              <a:gd name="connsiteX0-1" fmla="*/ 0 w 4749180"/>
              <a:gd name="connsiteY0-2" fmla="*/ 0 h 585589"/>
              <a:gd name="connsiteX1-3" fmla="*/ 4749180 w 4749180"/>
              <a:gd name="connsiteY1-4" fmla="*/ 9525 h 585589"/>
              <a:gd name="connsiteX2-5" fmla="*/ 4749180 w 4749180"/>
              <a:gd name="connsiteY2-6" fmla="*/ 585589 h 585589"/>
              <a:gd name="connsiteX3-7" fmla="*/ 542925 w 4749180"/>
              <a:gd name="connsiteY3-8" fmla="*/ 585589 h 585589"/>
              <a:gd name="connsiteX4-9" fmla="*/ 0 w 4749180"/>
              <a:gd name="connsiteY4-10" fmla="*/ 0 h 58558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749180" h="585589">
                <a:moveTo>
                  <a:pt x="0" y="0"/>
                </a:moveTo>
                <a:lnTo>
                  <a:pt x="4749180" y="9525"/>
                </a:lnTo>
                <a:lnTo>
                  <a:pt x="4749180" y="585589"/>
                </a:lnTo>
                <a:lnTo>
                  <a:pt x="542925" y="585589"/>
                </a:lnTo>
                <a:lnTo>
                  <a:pt x="0" y="0"/>
                </a:lnTo>
                <a:close/>
              </a:path>
            </a:pathLst>
          </a:custGeom>
          <a:solidFill>
            <a:srgbClr val="8E499C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      </a:t>
            </a:r>
            <a:r>
              <a:rPr lang="zh-CN" altLang="en-US" sz="32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运行</a:t>
            </a: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可靠</a:t>
            </a:r>
            <a:endParaRPr lang="en-US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58" name="矩形 57"/>
          <p:cNvSpPr>
            <a:spLocks noChangeArrowheads="1"/>
          </p:cNvSpPr>
          <p:nvPr/>
        </p:nvSpPr>
        <p:spPr bwMode="auto">
          <a:xfrm>
            <a:off x="139461" y="1680712"/>
            <a:ext cx="8871563" cy="1877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Blip>
                <a:blip r:embed="rId9"/>
              </a:buBlip>
              <a:defRPr sz="28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▒"/>
              <a:defRPr kumimoji="1" sz="2400">
                <a:solidFill>
                  <a:srgbClr val="0000FF"/>
                </a:solidFill>
                <a:latin typeface="Arial Narrow" panose="020B0606020202030204" pitchFamily="34" charset="0"/>
                <a:ea typeface="华文楷体" panose="02010600040101010101" pitchFamily="2" charset="-122"/>
                <a:cs typeface="华文楷体" panose="02010600040101010101" pitchFamily="2" charset="-122"/>
              </a:defRPr>
            </a:lvl2pPr>
            <a:lvl3pPr marL="1143000" indent="-228600">
              <a:spcBef>
                <a:spcPct val="20000"/>
              </a:spcBef>
              <a:buBlip>
                <a:blip r:embed="rId10"/>
              </a:buBlip>
              <a:defRPr kumimoji="1" sz="2000">
                <a:solidFill>
                  <a:srgbClr val="E46C0A"/>
                </a:solidFill>
                <a:latin typeface="Arial Narrow" panose="020B0606020202030204" pitchFamily="34" charset="0"/>
                <a:ea typeface="华文仿宋" panose="02010600040101010101" pitchFamily="2" charset="-122"/>
                <a:cs typeface="华文仿宋" panose="0201060004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9pPr>
          </a:lstStyle>
          <a:p>
            <a:pPr algn="just">
              <a:spcBef>
                <a:spcPct val="0"/>
              </a:spcBef>
              <a:buFontTx/>
              <a:buNone/>
            </a:pPr>
            <a:r>
              <a:rPr lang="zh-CN" altLang="en-US" sz="2000" b="0" dirty="0">
                <a:solidFill>
                  <a:srgbClr val="558ED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运行</a:t>
            </a:r>
            <a:endParaRPr lang="en-US" altLang="zh-CN" sz="20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00050" indent="-400050" algn="just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被监测波形余晖数值记入每周系统小结</a:t>
            </a:r>
            <a:endParaRPr lang="en-US" altLang="zh-CN" sz="16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00050" indent="-400050" algn="just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6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示波器</a:t>
            </a:r>
            <a:r>
              <a:rPr lang="en-US" altLang="zh-CN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通道分别</a:t>
            </a:r>
            <a:r>
              <a:rPr lang="zh-CN" altLang="en-US" sz="16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监测多路信号源</a:t>
            </a: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变频源</a:t>
            </a:r>
            <a:r>
              <a:rPr lang="zh-CN" altLang="en-US" sz="16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）输出</a:t>
            </a:r>
            <a:r>
              <a:rPr lang="en-US" altLang="zh-CN" sz="16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42.8 MHz/</a:t>
            </a:r>
            <a:r>
              <a:rPr lang="zh-CN" altLang="en-US" sz="16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变频源输出</a:t>
            </a:r>
            <a:r>
              <a:rPr lang="en-US" altLang="zh-CN" sz="16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856 MHz</a:t>
            </a:r>
          </a:p>
          <a:p>
            <a:pPr algn="just">
              <a:lnSpc>
                <a:spcPct val="120000"/>
              </a:lnSpc>
              <a:spcBef>
                <a:spcPct val="0"/>
              </a:spcBef>
              <a:buNone/>
            </a:pPr>
            <a:r>
              <a:rPr lang="en-US" altLang="zh-CN" sz="16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     /8W</a:t>
            </a:r>
            <a:r>
              <a:rPr lang="zh-CN" altLang="en-US" sz="16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固</a:t>
            </a: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放</a:t>
            </a:r>
            <a:r>
              <a:rPr lang="zh-CN" altLang="en-US" sz="16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输出</a:t>
            </a:r>
            <a:r>
              <a:rPr lang="en-US" altLang="zh-CN" sz="16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856 MHz</a:t>
            </a:r>
            <a:r>
              <a:rPr lang="zh-CN" altLang="en-US" sz="16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信号</a:t>
            </a:r>
            <a:r>
              <a:rPr lang="en-US" altLang="zh-CN" sz="16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激光接收器输出</a:t>
            </a:r>
            <a:r>
              <a:rPr lang="en-US" altLang="zh-CN" sz="16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571.2 MHz</a:t>
            </a:r>
            <a:r>
              <a:rPr lang="zh-CN" altLang="en-US" sz="16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信号</a:t>
            </a:r>
            <a:endParaRPr lang="en-US" altLang="zh-CN" sz="1600" b="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00050" indent="-400050" algn="just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</a:t>
            </a:r>
            <a:r>
              <a:rPr lang="zh-CN" altLang="en-US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快速判断并锁定具体故障</a:t>
            </a:r>
            <a:r>
              <a:rPr lang="zh-CN" altLang="en-US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备</a:t>
            </a: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6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大幅</a:t>
            </a: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节省了故障排查</a:t>
            </a:r>
            <a:r>
              <a:rPr lang="zh-CN" altLang="en-US" sz="16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时间</a:t>
            </a:r>
            <a:endParaRPr lang="en-US" altLang="zh-CN" sz="1600" b="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00050" indent="-400050" algn="just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警设备早期的性能下降</a:t>
            </a:r>
            <a:r>
              <a:rPr lang="zh-CN" altLang="en-US" sz="16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防患于未然</a:t>
            </a:r>
            <a:endParaRPr lang="en-US" altLang="zh-CN" sz="16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305780" y="3600534"/>
            <a:ext cx="4797406" cy="2767563"/>
            <a:chOff x="305780" y="3600534"/>
            <a:chExt cx="4797406" cy="2767563"/>
          </a:xfrm>
        </p:grpSpPr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05780" y="3600534"/>
              <a:ext cx="4770276" cy="2767563"/>
            </a:xfrm>
            <a:prstGeom prst="rect">
              <a:avLst/>
            </a:prstGeom>
            <a:ln w="38100">
              <a:solidFill>
                <a:schemeClr val="accent1"/>
              </a:solidFill>
            </a:ln>
          </p:spPr>
        </p:pic>
        <p:sp>
          <p:nvSpPr>
            <p:cNvPr id="18" name="Rectangle 22"/>
            <p:cNvSpPr/>
            <p:nvPr>
              <p:custDataLst>
                <p:tags r:id="rId6"/>
              </p:custDataLst>
            </p:nvPr>
          </p:nvSpPr>
          <p:spPr bwMode="auto">
            <a:xfrm>
              <a:off x="4283968" y="3600534"/>
              <a:ext cx="819218" cy="260514"/>
            </a:xfrm>
            <a:custGeom>
              <a:avLst/>
              <a:gdLst>
                <a:gd name="connsiteX0" fmla="*/ 0 w 1368152"/>
                <a:gd name="connsiteY0" fmla="*/ 0 h 324000"/>
                <a:gd name="connsiteX1" fmla="*/ 1368152 w 1368152"/>
                <a:gd name="connsiteY1" fmla="*/ 0 h 324000"/>
                <a:gd name="connsiteX2" fmla="*/ 1368152 w 1368152"/>
                <a:gd name="connsiteY2" fmla="*/ 324000 h 324000"/>
                <a:gd name="connsiteX3" fmla="*/ 0 w 1368152"/>
                <a:gd name="connsiteY3" fmla="*/ 324000 h 324000"/>
                <a:gd name="connsiteX4" fmla="*/ 0 w 1368152"/>
                <a:gd name="connsiteY4" fmla="*/ 0 h 324000"/>
                <a:gd name="connsiteX0-1" fmla="*/ 0 w 1368152"/>
                <a:gd name="connsiteY0-2" fmla="*/ 0 h 324000"/>
                <a:gd name="connsiteX1-3" fmla="*/ 1368152 w 1368152"/>
                <a:gd name="connsiteY1-4" fmla="*/ 0 h 324000"/>
                <a:gd name="connsiteX2-5" fmla="*/ 1368152 w 1368152"/>
                <a:gd name="connsiteY2-6" fmla="*/ 324000 h 324000"/>
                <a:gd name="connsiteX3-7" fmla="*/ 279400 w 1368152"/>
                <a:gd name="connsiteY3-8" fmla="*/ 324000 h 324000"/>
                <a:gd name="connsiteX4-9" fmla="*/ 0 w 1368152"/>
                <a:gd name="connsiteY4-10" fmla="*/ 0 h 32400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68152" h="324000">
                  <a:moveTo>
                    <a:pt x="0" y="0"/>
                  </a:moveTo>
                  <a:lnTo>
                    <a:pt x="1368152" y="0"/>
                  </a:lnTo>
                  <a:lnTo>
                    <a:pt x="1368152" y="324000"/>
                  </a:lnTo>
                  <a:lnTo>
                    <a:pt x="279400" y="324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58ED5"/>
            </a:solidFill>
            <a:ln w="9525">
              <a:solidFill>
                <a:srgbClr val="558ED5"/>
              </a:solidFill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91428" tIns="137172" rIns="91428" bIns="45715" anchor="ctr"/>
            <a:lstStyle/>
            <a:p>
              <a:pPr algn="r" defTabSz="913765">
                <a:lnSpc>
                  <a:spcPct val="90000"/>
                </a:lnSpc>
                <a:spcBef>
                  <a:spcPts val="630"/>
                </a:spcBef>
                <a:buClr>
                  <a:schemeClr val="bg2">
                    <a:lumMod val="75000"/>
                  </a:schemeClr>
                </a:buClr>
                <a:buSzPct val="100000"/>
                <a:defRPr/>
              </a:pPr>
              <a:r>
                <a:rPr lang="zh-CN" altLang="en-US" sz="1200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原理框图</a:t>
              </a:r>
              <a:endParaRPr lang="en-US" sz="1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5130316" y="4938674"/>
            <a:ext cx="3825313" cy="1418408"/>
            <a:chOff x="5130316" y="4938674"/>
            <a:chExt cx="3825313" cy="1418408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5130316" y="4938675"/>
              <a:ext cx="3825313" cy="1418407"/>
            </a:xfrm>
            <a:prstGeom prst="rect">
              <a:avLst/>
            </a:prstGeom>
            <a:ln w="38100">
              <a:solidFill>
                <a:schemeClr val="accent1"/>
              </a:solidFill>
            </a:ln>
          </p:spPr>
        </p:pic>
        <p:sp>
          <p:nvSpPr>
            <p:cNvPr id="19" name="Rectangle 22"/>
            <p:cNvSpPr/>
            <p:nvPr>
              <p:custDataLst>
                <p:tags r:id="rId5"/>
              </p:custDataLst>
            </p:nvPr>
          </p:nvSpPr>
          <p:spPr bwMode="auto">
            <a:xfrm>
              <a:off x="7884368" y="4938674"/>
              <a:ext cx="1066869" cy="290525"/>
            </a:xfrm>
            <a:custGeom>
              <a:avLst/>
              <a:gdLst>
                <a:gd name="connsiteX0" fmla="*/ 0 w 1368152"/>
                <a:gd name="connsiteY0" fmla="*/ 0 h 324000"/>
                <a:gd name="connsiteX1" fmla="*/ 1368152 w 1368152"/>
                <a:gd name="connsiteY1" fmla="*/ 0 h 324000"/>
                <a:gd name="connsiteX2" fmla="*/ 1368152 w 1368152"/>
                <a:gd name="connsiteY2" fmla="*/ 324000 h 324000"/>
                <a:gd name="connsiteX3" fmla="*/ 0 w 1368152"/>
                <a:gd name="connsiteY3" fmla="*/ 324000 h 324000"/>
                <a:gd name="connsiteX4" fmla="*/ 0 w 1368152"/>
                <a:gd name="connsiteY4" fmla="*/ 0 h 324000"/>
                <a:gd name="connsiteX0-1" fmla="*/ 0 w 1368152"/>
                <a:gd name="connsiteY0-2" fmla="*/ 0 h 324000"/>
                <a:gd name="connsiteX1-3" fmla="*/ 1368152 w 1368152"/>
                <a:gd name="connsiteY1-4" fmla="*/ 0 h 324000"/>
                <a:gd name="connsiteX2-5" fmla="*/ 1368152 w 1368152"/>
                <a:gd name="connsiteY2-6" fmla="*/ 324000 h 324000"/>
                <a:gd name="connsiteX3-7" fmla="*/ 279400 w 1368152"/>
                <a:gd name="connsiteY3-8" fmla="*/ 324000 h 324000"/>
                <a:gd name="connsiteX4-9" fmla="*/ 0 w 1368152"/>
                <a:gd name="connsiteY4-10" fmla="*/ 0 h 32400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68152" h="324000">
                  <a:moveTo>
                    <a:pt x="0" y="0"/>
                  </a:moveTo>
                  <a:lnTo>
                    <a:pt x="1368152" y="0"/>
                  </a:lnTo>
                  <a:lnTo>
                    <a:pt x="1368152" y="324000"/>
                  </a:lnTo>
                  <a:lnTo>
                    <a:pt x="279400" y="324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58ED5"/>
            </a:solidFill>
            <a:ln w="9525">
              <a:solidFill>
                <a:srgbClr val="558ED5"/>
              </a:solidFill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91428" tIns="137172" rIns="91428" bIns="45715" anchor="ctr"/>
            <a:lstStyle/>
            <a:p>
              <a:pPr algn="r" defTabSz="913765">
                <a:lnSpc>
                  <a:spcPct val="90000"/>
                </a:lnSpc>
                <a:spcBef>
                  <a:spcPts val="630"/>
                </a:spcBef>
                <a:buClr>
                  <a:schemeClr val="bg2">
                    <a:lumMod val="75000"/>
                  </a:schemeClr>
                </a:buClr>
                <a:buSzPct val="100000"/>
                <a:defRPr/>
              </a:pPr>
              <a:r>
                <a:rPr lang="zh-CN" altLang="en-US" sz="1200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示波器界面</a:t>
              </a:r>
              <a:endParaRPr lang="en-US" sz="1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</p:grp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780"/>
    </mc:Choice>
    <mc:Fallback xmlns="">
      <p:transition spd="slow" advTm="16780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22"/>
          <p:cNvSpPr/>
          <p:nvPr>
            <p:custDataLst>
              <p:tags r:id="rId2"/>
            </p:custDataLst>
          </p:nvPr>
        </p:nvSpPr>
        <p:spPr bwMode="auto">
          <a:xfrm>
            <a:off x="2555778" y="1060687"/>
            <a:ext cx="3395553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ctr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endParaRPr lang="en-US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微波</a:t>
            </a:r>
            <a:r>
              <a:rPr lang="zh-CN" altLang="en-US" dirty="0" smtClean="0"/>
              <a:t>激励系统</a:t>
            </a:r>
            <a:endParaRPr lang="zh-CN" altLang="en-US" dirty="0"/>
          </a:p>
        </p:txBody>
      </p:sp>
      <p:sp>
        <p:nvSpPr>
          <p:cNvPr id="4" name="Rectangle 22"/>
          <p:cNvSpPr/>
          <p:nvPr>
            <p:custDataLst>
              <p:tags r:id="rId3"/>
            </p:custDataLst>
          </p:nvPr>
        </p:nvSpPr>
        <p:spPr bwMode="auto">
          <a:xfrm>
            <a:off x="0" y="1062262"/>
            <a:ext cx="5436096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信号源</a:t>
            </a:r>
            <a:endParaRPr lang="en-US" altLang="zh-CN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20" name="矩形 26"/>
          <p:cNvSpPr>
            <a:spLocks noChangeAspect="1"/>
          </p:cNvSpPr>
          <p:nvPr/>
        </p:nvSpPr>
        <p:spPr>
          <a:xfrm>
            <a:off x="539552" y="4585046"/>
            <a:ext cx="8208911" cy="498335"/>
          </a:xfrm>
          <a:custGeom>
            <a:avLst/>
            <a:gdLst>
              <a:gd name="connsiteX0" fmla="*/ 0 w 6984777"/>
              <a:gd name="connsiteY0" fmla="*/ 0 h 498335"/>
              <a:gd name="connsiteX1" fmla="*/ 6984777 w 6984777"/>
              <a:gd name="connsiteY1" fmla="*/ 0 h 498335"/>
              <a:gd name="connsiteX2" fmla="*/ 6984777 w 6984777"/>
              <a:gd name="connsiteY2" fmla="*/ 498335 h 498335"/>
              <a:gd name="connsiteX3" fmla="*/ 0 w 6984777"/>
              <a:gd name="connsiteY3" fmla="*/ 498335 h 498335"/>
              <a:gd name="connsiteX4" fmla="*/ 0 w 6984777"/>
              <a:gd name="connsiteY4" fmla="*/ 0 h 498335"/>
              <a:gd name="connsiteX0-1" fmla="*/ 0 w 6984777"/>
              <a:gd name="connsiteY0-2" fmla="*/ 0 h 498335"/>
              <a:gd name="connsiteX1-3" fmla="*/ 6984777 w 6984777"/>
              <a:gd name="connsiteY1-4" fmla="*/ 0 h 498335"/>
              <a:gd name="connsiteX2-5" fmla="*/ 6322861 w 6984777"/>
              <a:gd name="connsiteY2-6" fmla="*/ 498335 h 498335"/>
              <a:gd name="connsiteX3-7" fmla="*/ 0 w 6984777"/>
              <a:gd name="connsiteY3-8" fmla="*/ 498335 h 498335"/>
              <a:gd name="connsiteX4-9" fmla="*/ 0 w 6984777"/>
              <a:gd name="connsiteY4-10" fmla="*/ 0 h 498335"/>
              <a:gd name="connsiteX0-11" fmla="*/ 0 w 6984777"/>
              <a:gd name="connsiteY0-12" fmla="*/ 0 h 498335"/>
              <a:gd name="connsiteX1-13" fmla="*/ 6984777 w 6984777"/>
              <a:gd name="connsiteY1-14" fmla="*/ 0 h 498335"/>
              <a:gd name="connsiteX2-15" fmla="*/ 6513056 w 6984777"/>
              <a:gd name="connsiteY2-16" fmla="*/ 491019 h 498335"/>
              <a:gd name="connsiteX3-17" fmla="*/ 0 w 6984777"/>
              <a:gd name="connsiteY3-18" fmla="*/ 498335 h 498335"/>
              <a:gd name="connsiteX4-19" fmla="*/ 0 w 6984777"/>
              <a:gd name="connsiteY4-20" fmla="*/ 0 h 49833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6984777" h="498335">
                <a:moveTo>
                  <a:pt x="0" y="0"/>
                </a:moveTo>
                <a:lnTo>
                  <a:pt x="6984777" y="0"/>
                </a:lnTo>
                <a:lnTo>
                  <a:pt x="6513056" y="491019"/>
                </a:lnTo>
                <a:lnTo>
                  <a:pt x="0" y="498335"/>
                </a:lnTo>
                <a:lnTo>
                  <a:pt x="0" y="0"/>
                </a:lnTo>
                <a:close/>
              </a:path>
            </a:pathLst>
          </a:custGeom>
          <a:solidFill>
            <a:srgbClr val="558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zh-CN" altLang="en-US" sz="1850" kern="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35" name="流程图: 联系 33"/>
          <p:cNvSpPr/>
          <p:nvPr/>
        </p:nvSpPr>
        <p:spPr>
          <a:xfrm rot="16200000">
            <a:off x="6321001" y="4005065"/>
            <a:ext cx="72000" cy="72000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文本框 45"/>
          <p:cNvSpPr txBox="1"/>
          <p:nvPr/>
        </p:nvSpPr>
        <p:spPr>
          <a:xfrm>
            <a:off x="5508104" y="4634158"/>
            <a:ext cx="7920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dirty="0" smtClean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rPr>
              <a:t>25.05</a:t>
            </a:r>
            <a:endParaRPr lang="zh-CN" altLang="en-US" sz="2000" dirty="0">
              <a:solidFill>
                <a:schemeClr val="bg1"/>
              </a:solidFill>
              <a:latin typeface="+mn-lt"/>
              <a:ea typeface="微软雅黑" panose="020B0503020204020204" pitchFamily="34" charset="-122"/>
            </a:endParaRPr>
          </a:p>
        </p:txBody>
      </p:sp>
      <p:sp>
        <p:nvSpPr>
          <p:cNvPr id="56" name="Rectangle 22"/>
          <p:cNvSpPr/>
          <p:nvPr>
            <p:custDataLst>
              <p:tags r:id="rId4"/>
            </p:custDataLst>
          </p:nvPr>
        </p:nvSpPr>
        <p:spPr bwMode="auto">
          <a:xfrm>
            <a:off x="5652120" y="1052738"/>
            <a:ext cx="3491880" cy="585589"/>
          </a:xfrm>
          <a:custGeom>
            <a:avLst/>
            <a:gdLst>
              <a:gd name="connsiteX0" fmla="*/ 0 w 4206255"/>
              <a:gd name="connsiteY0" fmla="*/ 0 h 576064"/>
              <a:gd name="connsiteX1" fmla="*/ 4206255 w 4206255"/>
              <a:gd name="connsiteY1" fmla="*/ 0 h 576064"/>
              <a:gd name="connsiteX2" fmla="*/ 4206255 w 4206255"/>
              <a:gd name="connsiteY2" fmla="*/ 576064 h 576064"/>
              <a:gd name="connsiteX3" fmla="*/ 0 w 4206255"/>
              <a:gd name="connsiteY3" fmla="*/ 576064 h 576064"/>
              <a:gd name="connsiteX4" fmla="*/ 0 w 4206255"/>
              <a:gd name="connsiteY4" fmla="*/ 0 h 576064"/>
              <a:gd name="connsiteX0-1" fmla="*/ 0 w 4749180"/>
              <a:gd name="connsiteY0-2" fmla="*/ 0 h 585589"/>
              <a:gd name="connsiteX1-3" fmla="*/ 4749180 w 4749180"/>
              <a:gd name="connsiteY1-4" fmla="*/ 9525 h 585589"/>
              <a:gd name="connsiteX2-5" fmla="*/ 4749180 w 4749180"/>
              <a:gd name="connsiteY2-6" fmla="*/ 585589 h 585589"/>
              <a:gd name="connsiteX3-7" fmla="*/ 542925 w 4749180"/>
              <a:gd name="connsiteY3-8" fmla="*/ 585589 h 585589"/>
              <a:gd name="connsiteX4-9" fmla="*/ 0 w 4749180"/>
              <a:gd name="connsiteY4-10" fmla="*/ 0 h 58558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749180" h="585589">
                <a:moveTo>
                  <a:pt x="0" y="0"/>
                </a:moveTo>
                <a:lnTo>
                  <a:pt x="4749180" y="9525"/>
                </a:lnTo>
                <a:lnTo>
                  <a:pt x="4749180" y="585589"/>
                </a:lnTo>
                <a:lnTo>
                  <a:pt x="542925" y="585589"/>
                </a:lnTo>
                <a:lnTo>
                  <a:pt x="0" y="0"/>
                </a:lnTo>
                <a:close/>
              </a:path>
            </a:pathLst>
          </a:custGeom>
          <a:solidFill>
            <a:srgbClr val="8E499C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      运行稳定</a:t>
            </a:r>
            <a:endParaRPr lang="en-US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13" name="文本框 45"/>
          <p:cNvSpPr txBox="1"/>
          <p:nvPr/>
        </p:nvSpPr>
        <p:spPr>
          <a:xfrm>
            <a:off x="7308304" y="4634158"/>
            <a:ext cx="7920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dirty="0" smtClean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rPr>
              <a:t>25.08</a:t>
            </a:r>
            <a:endParaRPr lang="zh-CN" altLang="en-US" sz="2000" dirty="0">
              <a:solidFill>
                <a:schemeClr val="bg1"/>
              </a:solidFill>
              <a:latin typeface="+mn-lt"/>
              <a:ea typeface="微软雅黑" panose="020B0503020204020204" pitchFamily="34" charset="-122"/>
            </a:endParaRPr>
          </a:p>
        </p:txBody>
      </p:sp>
      <p:cxnSp>
        <p:nvCxnSpPr>
          <p:cNvPr id="7" name="直接箭头连接符 6"/>
          <p:cNvCxnSpPr/>
          <p:nvPr/>
        </p:nvCxnSpPr>
        <p:spPr>
          <a:xfrm flipV="1">
            <a:off x="5652120" y="4077065"/>
            <a:ext cx="0" cy="5570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矩形 8"/>
          <p:cNvSpPr/>
          <p:nvPr/>
        </p:nvSpPr>
        <p:spPr>
          <a:xfrm>
            <a:off x="487991" y="1815237"/>
            <a:ext cx="8428875" cy="2577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5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月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16-17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日直线主振频率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变化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，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低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电平监测到部分相位异常：据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观察有人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站在中控到直线间参考线管道上施工作业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电锤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等剧烈振动导致接收的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571.2 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Hz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参考信号产生畸变谐波，进而影响倍频和放大的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856 MHz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导致下游低电平系统信号畸变和锁相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失误，后已恢复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开放日后发现直线主振频率变了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 kHz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导致直线状态变化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调回频率后直线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状态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恢复；为此，将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直线主振信号源（是德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N5181B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频率调节位默认挪到了最后一位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0.001Hz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减少勿碰影响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539552" y="5589240"/>
            <a:ext cx="7890178" cy="4169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更换了直线（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PWFA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共同）主振为罗德的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SMA100B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cxnSp>
        <p:nvCxnSpPr>
          <p:cNvPr id="14" name="直接连接符 13"/>
          <p:cNvCxnSpPr/>
          <p:nvPr/>
        </p:nvCxnSpPr>
        <p:spPr>
          <a:xfrm>
            <a:off x="7668344" y="5034268"/>
            <a:ext cx="0" cy="7634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箭头连接符 20"/>
          <p:cNvCxnSpPr/>
          <p:nvPr/>
        </p:nvCxnSpPr>
        <p:spPr>
          <a:xfrm flipH="1">
            <a:off x="6393001" y="5797694"/>
            <a:ext cx="127534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文本框 28"/>
          <p:cNvSpPr txBox="1"/>
          <p:nvPr/>
        </p:nvSpPr>
        <p:spPr>
          <a:xfrm>
            <a:off x="7739600" y="6453338"/>
            <a:ext cx="11528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*</a:t>
            </a:r>
            <a:r>
              <a:rPr lang="zh-CN" altLang="en-US" sz="1400" dirty="0"/>
              <a:t>马新朋提供</a:t>
            </a: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780"/>
    </mc:Choice>
    <mc:Fallback xmlns="">
      <p:transition spd="slow" advTm="16780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22"/>
          <p:cNvSpPr/>
          <p:nvPr>
            <p:custDataLst>
              <p:tags r:id="rId2"/>
            </p:custDataLst>
          </p:nvPr>
        </p:nvSpPr>
        <p:spPr bwMode="auto">
          <a:xfrm>
            <a:off x="2483768" y="1062262"/>
            <a:ext cx="3482022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94C949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ctr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endParaRPr lang="en-US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微波功率采集与传输系统</a:t>
            </a:r>
          </a:p>
        </p:txBody>
      </p:sp>
      <p:sp>
        <p:nvSpPr>
          <p:cNvPr id="4" name="Rectangle 22"/>
          <p:cNvSpPr/>
          <p:nvPr>
            <p:custDataLst>
              <p:tags r:id="rId3"/>
            </p:custDataLst>
          </p:nvPr>
        </p:nvSpPr>
        <p:spPr bwMode="auto">
          <a:xfrm>
            <a:off x="0" y="1062262"/>
            <a:ext cx="5436096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94C949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29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波导类元器件</a:t>
            </a:r>
            <a:endParaRPr lang="en-US" altLang="zh-CN" sz="29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6" name="Rectangle 22"/>
          <p:cNvSpPr/>
          <p:nvPr>
            <p:custDataLst>
              <p:tags r:id="rId4"/>
            </p:custDataLst>
          </p:nvPr>
        </p:nvSpPr>
        <p:spPr bwMode="auto">
          <a:xfrm>
            <a:off x="5652120" y="1052738"/>
            <a:ext cx="3491880" cy="585589"/>
          </a:xfrm>
          <a:custGeom>
            <a:avLst/>
            <a:gdLst>
              <a:gd name="connsiteX0" fmla="*/ 0 w 4206255"/>
              <a:gd name="connsiteY0" fmla="*/ 0 h 576064"/>
              <a:gd name="connsiteX1" fmla="*/ 4206255 w 4206255"/>
              <a:gd name="connsiteY1" fmla="*/ 0 h 576064"/>
              <a:gd name="connsiteX2" fmla="*/ 4206255 w 4206255"/>
              <a:gd name="connsiteY2" fmla="*/ 576064 h 576064"/>
              <a:gd name="connsiteX3" fmla="*/ 0 w 4206255"/>
              <a:gd name="connsiteY3" fmla="*/ 576064 h 576064"/>
              <a:gd name="connsiteX4" fmla="*/ 0 w 4206255"/>
              <a:gd name="connsiteY4" fmla="*/ 0 h 576064"/>
              <a:gd name="connsiteX0-1" fmla="*/ 0 w 4749180"/>
              <a:gd name="connsiteY0-2" fmla="*/ 0 h 585589"/>
              <a:gd name="connsiteX1-3" fmla="*/ 4749180 w 4749180"/>
              <a:gd name="connsiteY1-4" fmla="*/ 9525 h 585589"/>
              <a:gd name="connsiteX2-5" fmla="*/ 4749180 w 4749180"/>
              <a:gd name="connsiteY2-6" fmla="*/ 585589 h 585589"/>
              <a:gd name="connsiteX3-7" fmla="*/ 542925 w 4749180"/>
              <a:gd name="connsiteY3-8" fmla="*/ 585589 h 585589"/>
              <a:gd name="connsiteX4-9" fmla="*/ 0 w 4749180"/>
              <a:gd name="connsiteY4-10" fmla="*/ 0 h 58558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749180" h="585589">
                <a:moveTo>
                  <a:pt x="0" y="0"/>
                </a:moveTo>
                <a:lnTo>
                  <a:pt x="4749180" y="9525"/>
                </a:lnTo>
                <a:lnTo>
                  <a:pt x="4749180" y="585589"/>
                </a:lnTo>
                <a:lnTo>
                  <a:pt x="542925" y="58558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     运行稳定</a:t>
            </a:r>
            <a:endParaRPr lang="en-US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27" name="矩形 26"/>
          <p:cNvSpPr>
            <a:spLocks noChangeArrowheads="1"/>
          </p:cNvSpPr>
          <p:nvPr/>
        </p:nvSpPr>
        <p:spPr bwMode="auto">
          <a:xfrm>
            <a:off x="3105533" y="1772816"/>
            <a:ext cx="5714939" cy="4566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Blip>
                <a:blip r:embed="rId8"/>
              </a:buBlip>
              <a:defRPr sz="28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▒"/>
              <a:defRPr kumimoji="1" sz="2400">
                <a:solidFill>
                  <a:srgbClr val="0000FF"/>
                </a:solidFill>
                <a:latin typeface="Arial Narrow" panose="020B0606020202030204" pitchFamily="34" charset="0"/>
                <a:ea typeface="华文楷体" panose="02010600040101010101" pitchFamily="2" charset="-122"/>
                <a:cs typeface="华文楷体" panose="02010600040101010101" pitchFamily="2" charset="-122"/>
              </a:defRPr>
            </a:lvl2pPr>
            <a:lvl3pPr marL="1143000" indent="-228600">
              <a:spcBef>
                <a:spcPct val="20000"/>
              </a:spcBef>
              <a:buBlip>
                <a:blip r:embed="rId9"/>
              </a:buBlip>
              <a:defRPr kumimoji="1" sz="2000">
                <a:solidFill>
                  <a:srgbClr val="E46C0A"/>
                </a:solidFill>
                <a:latin typeface="Arial Narrow" panose="020B0606020202030204" pitchFamily="34" charset="0"/>
                <a:ea typeface="华文仿宋" panose="02010600040101010101" pitchFamily="2" charset="-122"/>
                <a:cs typeface="华文仿宋" panose="0201060004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9pPr>
          </a:lstStyle>
          <a:p>
            <a:pPr algn="just">
              <a:lnSpc>
                <a:spcPct val="160000"/>
              </a:lnSpc>
              <a:spcBef>
                <a:spcPct val="0"/>
              </a:spcBef>
              <a:buFontTx/>
              <a:buNone/>
            </a:pPr>
            <a:r>
              <a:rPr lang="en-US" altLang="zh-CN" sz="2000" b="0" dirty="0" smtClean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12</a:t>
            </a:r>
            <a:r>
              <a:rPr lang="zh-CN" altLang="en-US" sz="2000" b="0" dirty="0" smtClean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速调管更换 </a:t>
            </a:r>
            <a:r>
              <a:rPr lang="en-US" altLang="zh-CN" sz="2000" b="0" dirty="0" smtClean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amp; </a:t>
            </a:r>
            <a:r>
              <a:rPr lang="zh-CN" altLang="en-US" sz="2000" b="0" dirty="0" smtClean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频繁反射保护问题排查</a:t>
            </a:r>
            <a:endParaRPr lang="en-US" altLang="zh-CN" sz="2000" b="0" dirty="0">
              <a:solidFill>
                <a:srgbClr val="8E499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6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8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5.02.17~19 </a:t>
            </a:r>
            <a:r>
              <a:rPr lang="zh-CN" altLang="en-US" sz="18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因</a:t>
            </a:r>
            <a:r>
              <a:rPr lang="en-US" altLang="zh-CN" sz="18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K12</a:t>
            </a:r>
            <a:r>
              <a:rPr lang="zh-CN" altLang="en-US" sz="18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在运行时能稳定工作的功率点越来越低，被迫更换速调管（日本管→国产管）</a:t>
            </a:r>
            <a:endParaRPr lang="en-US" altLang="zh-CN" sz="1800" b="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6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8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判断是旧速调管已严重损坏的陶瓷窗面导致</a:t>
            </a:r>
            <a:endParaRPr lang="en-US" altLang="zh-CN" sz="18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160000"/>
              </a:lnSpc>
              <a:spcBef>
                <a:spcPct val="0"/>
              </a:spcBef>
              <a:buNone/>
            </a:pPr>
            <a:r>
              <a:rPr lang="zh-CN" altLang="en-US" sz="2000" b="0" dirty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速调管上线后</a:t>
            </a:r>
            <a:r>
              <a:rPr lang="zh-CN" altLang="en-US" sz="2000" b="0" dirty="0" smtClean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频繁反射保护”现象依然</a:t>
            </a:r>
            <a:r>
              <a:rPr lang="zh-CN" altLang="en-US" sz="2000" b="0" dirty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存在</a:t>
            </a:r>
            <a:endParaRPr lang="en-US" altLang="zh-CN" sz="2000" b="0" dirty="0">
              <a:solidFill>
                <a:srgbClr val="8E499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6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8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经过对速调管工作点、能量倍增器工作点、耦合器波形、整体红外温度、真空情况、固态放大器与隔离器等的排查，判断反射来自隧道内，但隧道内的真空计与泵电流曲线平稳，</a:t>
            </a:r>
            <a:r>
              <a:rPr lang="zh-CN" altLang="en-US" sz="1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两者不符！</a:t>
            </a:r>
            <a:endParaRPr lang="en-US" altLang="zh-CN" sz="18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6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8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最终在更改功率计采样相关设置后，现象消失</a:t>
            </a:r>
            <a:endParaRPr lang="en-US" altLang="zh-CN" sz="18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Rectangle 22"/>
          <p:cNvSpPr/>
          <p:nvPr>
            <p:custDataLst>
              <p:tags r:id="rId5"/>
            </p:custDataLst>
          </p:nvPr>
        </p:nvSpPr>
        <p:spPr bwMode="auto">
          <a:xfrm>
            <a:off x="1043608" y="6252318"/>
            <a:ext cx="1800200" cy="292683"/>
          </a:xfrm>
          <a:custGeom>
            <a:avLst/>
            <a:gdLst>
              <a:gd name="connsiteX0" fmla="*/ 0 w 1368152"/>
              <a:gd name="connsiteY0" fmla="*/ 0 h 324000"/>
              <a:gd name="connsiteX1" fmla="*/ 1368152 w 1368152"/>
              <a:gd name="connsiteY1" fmla="*/ 0 h 324000"/>
              <a:gd name="connsiteX2" fmla="*/ 1368152 w 1368152"/>
              <a:gd name="connsiteY2" fmla="*/ 324000 h 324000"/>
              <a:gd name="connsiteX3" fmla="*/ 0 w 1368152"/>
              <a:gd name="connsiteY3" fmla="*/ 324000 h 324000"/>
              <a:gd name="connsiteX4" fmla="*/ 0 w 1368152"/>
              <a:gd name="connsiteY4" fmla="*/ 0 h 324000"/>
              <a:gd name="connsiteX0-1" fmla="*/ 0 w 1368152"/>
              <a:gd name="connsiteY0-2" fmla="*/ 0 h 324000"/>
              <a:gd name="connsiteX1-3" fmla="*/ 1368152 w 1368152"/>
              <a:gd name="connsiteY1-4" fmla="*/ 0 h 324000"/>
              <a:gd name="connsiteX2-5" fmla="*/ 1368152 w 1368152"/>
              <a:gd name="connsiteY2-6" fmla="*/ 324000 h 324000"/>
              <a:gd name="connsiteX3-7" fmla="*/ 279400 w 1368152"/>
              <a:gd name="connsiteY3-8" fmla="*/ 324000 h 324000"/>
              <a:gd name="connsiteX4-9" fmla="*/ 0 w 1368152"/>
              <a:gd name="connsiteY4-10" fmla="*/ 0 h 324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368152" h="324000">
                <a:moveTo>
                  <a:pt x="0" y="0"/>
                </a:moveTo>
                <a:lnTo>
                  <a:pt x="1368152" y="0"/>
                </a:lnTo>
                <a:lnTo>
                  <a:pt x="1368152" y="324000"/>
                </a:lnTo>
                <a:lnTo>
                  <a:pt x="279400" y="324000"/>
                </a:lnTo>
                <a:lnTo>
                  <a:pt x="0" y="0"/>
                </a:lnTo>
                <a:close/>
              </a:path>
            </a:pathLst>
          </a:custGeom>
          <a:solidFill>
            <a:srgbClr val="94C949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ctr"/>
          <a:lstStyle/>
          <a:p>
            <a:pPr algn="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en-US" altLang="zh-CN" sz="14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K12</a:t>
            </a:r>
            <a:r>
              <a:rPr lang="zh-CN" altLang="en-US" sz="14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速调管及窗面</a:t>
            </a:r>
            <a:endParaRPr lang="en-US" sz="14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5514" y="4681342"/>
            <a:ext cx="2614544" cy="1537216"/>
          </a:xfrm>
          <a:prstGeom prst="rect">
            <a:avLst/>
          </a:prstGeom>
          <a:ln w="38100">
            <a:solidFill>
              <a:srgbClr val="92D050"/>
            </a:solidFill>
          </a:ln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17848" y="1772816"/>
            <a:ext cx="1733151" cy="2229481"/>
          </a:xfrm>
          <a:prstGeom prst="rect">
            <a:avLst/>
          </a:prstGeom>
          <a:ln w="38100">
            <a:solidFill>
              <a:srgbClr val="92D050"/>
            </a:solidFill>
          </a:ln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776243" y="2132856"/>
            <a:ext cx="1053814" cy="2503934"/>
          </a:xfrm>
          <a:prstGeom prst="rect">
            <a:avLst/>
          </a:prstGeom>
          <a:ln w="38100">
            <a:solidFill>
              <a:srgbClr val="92D050"/>
            </a:solidFill>
          </a:ln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780"/>
    </mc:Choice>
    <mc:Fallback xmlns="">
      <p:transition spd="slow" advTm="16780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2"/>
          <p:cNvSpPr/>
          <p:nvPr>
            <p:custDataLst>
              <p:tags r:id="rId1"/>
            </p:custDataLst>
          </p:nvPr>
        </p:nvSpPr>
        <p:spPr bwMode="auto">
          <a:xfrm>
            <a:off x="0" y="1062262"/>
            <a:ext cx="5868144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94C949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              功率计</a:t>
            </a:r>
            <a:endParaRPr lang="en-US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6" name="Rectangle 22"/>
          <p:cNvSpPr/>
          <p:nvPr>
            <p:custDataLst>
              <p:tags r:id="rId2"/>
            </p:custDataLst>
          </p:nvPr>
        </p:nvSpPr>
        <p:spPr bwMode="auto">
          <a:xfrm>
            <a:off x="5317604" y="1052738"/>
            <a:ext cx="3843858" cy="585589"/>
          </a:xfrm>
          <a:custGeom>
            <a:avLst/>
            <a:gdLst>
              <a:gd name="connsiteX0" fmla="*/ 0 w 4206255"/>
              <a:gd name="connsiteY0" fmla="*/ 0 h 576064"/>
              <a:gd name="connsiteX1" fmla="*/ 4206255 w 4206255"/>
              <a:gd name="connsiteY1" fmla="*/ 0 h 576064"/>
              <a:gd name="connsiteX2" fmla="*/ 4206255 w 4206255"/>
              <a:gd name="connsiteY2" fmla="*/ 576064 h 576064"/>
              <a:gd name="connsiteX3" fmla="*/ 0 w 4206255"/>
              <a:gd name="connsiteY3" fmla="*/ 576064 h 576064"/>
              <a:gd name="connsiteX4" fmla="*/ 0 w 4206255"/>
              <a:gd name="connsiteY4" fmla="*/ 0 h 576064"/>
              <a:gd name="connsiteX0-1" fmla="*/ 0 w 4749180"/>
              <a:gd name="connsiteY0-2" fmla="*/ 0 h 585589"/>
              <a:gd name="connsiteX1-3" fmla="*/ 4749180 w 4749180"/>
              <a:gd name="connsiteY1-4" fmla="*/ 9525 h 585589"/>
              <a:gd name="connsiteX2-5" fmla="*/ 4749180 w 4749180"/>
              <a:gd name="connsiteY2-6" fmla="*/ 585589 h 585589"/>
              <a:gd name="connsiteX3-7" fmla="*/ 542925 w 4749180"/>
              <a:gd name="connsiteY3-8" fmla="*/ 585589 h 585589"/>
              <a:gd name="connsiteX4-9" fmla="*/ 0 w 4749180"/>
              <a:gd name="connsiteY4-10" fmla="*/ 0 h 585589"/>
              <a:gd name="connsiteX0-11" fmla="*/ 0 w 4996820"/>
              <a:gd name="connsiteY0-12" fmla="*/ 0 h 585589"/>
              <a:gd name="connsiteX1-13" fmla="*/ 4996820 w 4996820"/>
              <a:gd name="connsiteY1-14" fmla="*/ 9525 h 585589"/>
              <a:gd name="connsiteX2-15" fmla="*/ 4996820 w 4996820"/>
              <a:gd name="connsiteY2-16" fmla="*/ 585589 h 585589"/>
              <a:gd name="connsiteX3-17" fmla="*/ 790565 w 4996820"/>
              <a:gd name="connsiteY3-18" fmla="*/ 585589 h 585589"/>
              <a:gd name="connsiteX4-19" fmla="*/ 0 w 4996820"/>
              <a:gd name="connsiteY4-20" fmla="*/ 0 h 585589"/>
              <a:gd name="connsiteX0-21" fmla="*/ 0 w 4996820"/>
              <a:gd name="connsiteY0-22" fmla="*/ 0 h 585589"/>
              <a:gd name="connsiteX1-23" fmla="*/ 4996820 w 4996820"/>
              <a:gd name="connsiteY1-24" fmla="*/ 9525 h 585589"/>
              <a:gd name="connsiteX2-25" fmla="*/ 4996820 w 4996820"/>
              <a:gd name="connsiteY2-26" fmla="*/ 585589 h 585589"/>
              <a:gd name="connsiteX3-27" fmla="*/ 827711 w 4996820"/>
              <a:gd name="connsiteY3-28" fmla="*/ 585589 h 585589"/>
              <a:gd name="connsiteX4-29" fmla="*/ 0 w 4996820"/>
              <a:gd name="connsiteY4-30" fmla="*/ 0 h 58558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996820" h="585589">
                <a:moveTo>
                  <a:pt x="0" y="0"/>
                </a:moveTo>
                <a:lnTo>
                  <a:pt x="4996820" y="9525"/>
                </a:lnTo>
                <a:lnTo>
                  <a:pt x="4996820" y="585589"/>
                </a:lnTo>
                <a:lnTo>
                  <a:pt x="827711" y="58558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 运行稳定</a:t>
            </a:r>
            <a:endParaRPr lang="en-US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1619672" y="3717032"/>
            <a:ext cx="641842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altLang="zh-CN" sz="3600" b="1" dirty="0" smtClean="0">
                <a:solidFill>
                  <a:srgbClr val="94C949"/>
                </a:solidFill>
              </a:rPr>
              <a:t>2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在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运行（次谐波固放输出功率监测）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/>
            <a:r>
              <a:rPr lang="en-US" altLang="zh-CN" sz="3600" b="1" dirty="0" smtClean="0">
                <a:solidFill>
                  <a:srgbClr val="94C94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合格备件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/>
            <a:r>
              <a:rPr lang="en-US" altLang="zh-CN" sz="3600" b="1" dirty="0">
                <a:solidFill>
                  <a:srgbClr val="94C94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台次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故障         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/>
            <a:r>
              <a:rPr lang="zh-CN" altLang="en-US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连续</a:t>
            </a:r>
            <a:r>
              <a:rPr lang="en-US" altLang="zh-CN" sz="3600" b="1" dirty="0">
                <a:solidFill>
                  <a:srgbClr val="94C94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年无故障</a:t>
            </a:r>
            <a:r>
              <a:rPr lang="zh-CN" altLang="en-US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运行</a:t>
            </a:r>
            <a:endParaRPr lang="en-US" altLang="zh-CN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/>
            <a:r>
              <a:rPr lang="en-US" altLang="zh-CN" sz="3600" b="1" dirty="0">
                <a:solidFill>
                  <a:srgbClr val="94C94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台数字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检波国产功率计，自转至次谐波处使用以来运行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良好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4909681"/>
              </p:ext>
            </p:extLst>
          </p:nvPr>
        </p:nvGraphicFramePr>
        <p:xfrm>
          <a:off x="611560" y="1772816"/>
          <a:ext cx="7848870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977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6977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697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56977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56977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281323">
                <a:tc>
                  <a:txBody>
                    <a:bodyPr/>
                    <a:lstStyle/>
                    <a:p>
                      <a:pPr algn="ctr"/>
                      <a:endParaRPr lang="zh-CN" alt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/>
                        <a:t>2021-2022</a:t>
                      </a:r>
                      <a:endParaRPr lang="zh-CN" alt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/>
                        <a:t>2022-2023</a:t>
                      </a:r>
                      <a:endParaRPr lang="zh-CN" alt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/>
                        <a:t>2023-2024</a:t>
                      </a:r>
                      <a:endParaRPr lang="zh-CN" alt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/>
                        <a:t>2024-2025</a:t>
                      </a:r>
                      <a:endParaRPr lang="zh-CN" altLang="en-US" sz="18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8132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/>
                        <a:t>返修台次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/>
                        <a:t>1</a:t>
                      </a:r>
                      <a:endParaRPr lang="zh-CN" alt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/>
                        <a:t>0</a:t>
                      </a:r>
                      <a:endParaRPr lang="zh-CN" alt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/>
                        <a:t>0</a:t>
                      </a:r>
                      <a:endParaRPr lang="zh-CN" alt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/>
                        <a:t>0</a:t>
                      </a:r>
                      <a:endParaRPr lang="zh-CN" altLang="en-US" sz="18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8132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/>
                        <a:t>返修次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/>
                        <a:t>1</a:t>
                      </a:r>
                      <a:endParaRPr lang="zh-CN" alt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/>
                        <a:t>0</a:t>
                      </a:r>
                      <a:endParaRPr lang="zh-CN" alt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/>
                        <a:t>0</a:t>
                      </a:r>
                      <a:endParaRPr lang="zh-CN" alt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/>
                        <a:t>0</a:t>
                      </a:r>
                      <a:endParaRPr lang="zh-CN" altLang="en-US" sz="18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8132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/>
                        <a:t>功率计更换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/>
                        <a:t>1</a:t>
                      </a:r>
                      <a:endParaRPr lang="zh-CN" alt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/>
                        <a:t>0</a:t>
                      </a:r>
                      <a:endParaRPr lang="zh-CN" alt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/>
                        <a:t>0</a:t>
                      </a:r>
                      <a:endParaRPr lang="zh-CN" alt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/>
                        <a:t>0</a:t>
                      </a:r>
                      <a:endParaRPr lang="zh-CN" altLang="en-US" sz="18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8132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/>
                        <a:t>故障台次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/>
                        <a:t>1</a:t>
                      </a:r>
                      <a:endParaRPr lang="zh-CN" alt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/>
                        <a:t>0</a:t>
                      </a:r>
                      <a:endParaRPr lang="zh-CN" alt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/>
                        <a:t>0</a:t>
                      </a:r>
                      <a:endParaRPr lang="zh-CN" alt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/>
                        <a:t>0</a:t>
                      </a:r>
                      <a:endParaRPr lang="zh-CN" altLang="en-US" sz="18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1367643" y="260986"/>
            <a:ext cx="7549225" cy="529596"/>
          </a:xfrm>
        </p:spPr>
        <p:txBody>
          <a:bodyPr/>
          <a:lstStyle/>
          <a:p>
            <a:r>
              <a:rPr lang="zh-CN" altLang="en-US" dirty="0"/>
              <a:t>微波功率采集与传输系统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2799"/>
    </mc:Choice>
    <mc:Fallback xmlns="">
      <p:transition spd="slow" advTm="42799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2"/>
          <p:cNvSpPr/>
          <p:nvPr>
            <p:custDataLst>
              <p:tags r:id="rId1"/>
            </p:custDataLst>
          </p:nvPr>
        </p:nvSpPr>
        <p:spPr bwMode="auto">
          <a:xfrm>
            <a:off x="0" y="1062262"/>
            <a:ext cx="5868144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94C949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</a:t>
            </a:r>
            <a:r>
              <a:rPr lang="zh-CN" altLang="en-US" sz="30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速调管陶瓷窗打火观测子系统</a:t>
            </a:r>
            <a:endParaRPr lang="en-US" sz="30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6" name="Rectangle 22"/>
          <p:cNvSpPr/>
          <p:nvPr>
            <p:custDataLst>
              <p:tags r:id="rId2"/>
            </p:custDataLst>
          </p:nvPr>
        </p:nvSpPr>
        <p:spPr bwMode="auto">
          <a:xfrm>
            <a:off x="5317604" y="1052738"/>
            <a:ext cx="3843858" cy="585589"/>
          </a:xfrm>
          <a:custGeom>
            <a:avLst/>
            <a:gdLst>
              <a:gd name="connsiteX0" fmla="*/ 0 w 4206255"/>
              <a:gd name="connsiteY0" fmla="*/ 0 h 576064"/>
              <a:gd name="connsiteX1" fmla="*/ 4206255 w 4206255"/>
              <a:gd name="connsiteY1" fmla="*/ 0 h 576064"/>
              <a:gd name="connsiteX2" fmla="*/ 4206255 w 4206255"/>
              <a:gd name="connsiteY2" fmla="*/ 576064 h 576064"/>
              <a:gd name="connsiteX3" fmla="*/ 0 w 4206255"/>
              <a:gd name="connsiteY3" fmla="*/ 576064 h 576064"/>
              <a:gd name="connsiteX4" fmla="*/ 0 w 4206255"/>
              <a:gd name="connsiteY4" fmla="*/ 0 h 576064"/>
              <a:gd name="connsiteX0-1" fmla="*/ 0 w 4749180"/>
              <a:gd name="connsiteY0-2" fmla="*/ 0 h 585589"/>
              <a:gd name="connsiteX1-3" fmla="*/ 4749180 w 4749180"/>
              <a:gd name="connsiteY1-4" fmla="*/ 9525 h 585589"/>
              <a:gd name="connsiteX2-5" fmla="*/ 4749180 w 4749180"/>
              <a:gd name="connsiteY2-6" fmla="*/ 585589 h 585589"/>
              <a:gd name="connsiteX3-7" fmla="*/ 542925 w 4749180"/>
              <a:gd name="connsiteY3-8" fmla="*/ 585589 h 585589"/>
              <a:gd name="connsiteX4-9" fmla="*/ 0 w 4749180"/>
              <a:gd name="connsiteY4-10" fmla="*/ 0 h 585589"/>
              <a:gd name="connsiteX0-11" fmla="*/ 0 w 4996820"/>
              <a:gd name="connsiteY0-12" fmla="*/ 0 h 585589"/>
              <a:gd name="connsiteX1-13" fmla="*/ 4996820 w 4996820"/>
              <a:gd name="connsiteY1-14" fmla="*/ 9525 h 585589"/>
              <a:gd name="connsiteX2-15" fmla="*/ 4996820 w 4996820"/>
              <a:gd name="connsiteY2-16" fmla="*/ 585589 h 585589"/>
              <a:gd name="connsiteX3-17" fmla="*/ 790565 w 4996820"/>
              <a:gd name="connsiteY3-18" fmla="*/ 585589 h 585589"/>
              <a:gd name="connsiteX4-19" fmla="*/ 0 w 4996820"/>
              <a:gd name="connsiteY4-20" fmla="*/ 0 h 585589"/>
              <a:gd name="connsiteX0-21" fmla="*/ 0 w 4996820"/>
              <a:gd name="connsiteY0-22" fmla="*/ 0 h 585589"/>
              <a:gd name="connsiteX1-23" fmla="*/ 4996820 w 4996820"/>
              <a:gd name="connsiteY1-24" fmla="*/ 9525 h 585589"/>
              <a:gd name="connsiteX2-25" fmla="*/ 4996820 w 4996820"/>
              <a:gd name="connsiteY2-26" fmla="*/ 585589 h 585589"/>
              <a:gd name="connsiteX3-27" fmla="*/ 827711 w 4996820"/>
              <a:gd name="connsiteY3-28" fmla="*/ 585589 h 585589"/>
              <a:gd name="connsiteX4-29" fmla="*/ 0 w 4996820"/>
              <a:gd name="connsiteY4-30" fmla="*/ 0 h 58558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996820" h="585589">
                <a:moveTo>
                  <a:pt x="0" y="0"/>
                </a:moveTo>
                <a:lnTo>
                  <a:pt x="4996820" y="9525"/>
                </a:lnTo>
                <a:lnTo>
                  <a:pt x="4996820" y="585589"/>
                </a:lnTo>
                <a:lnTo>
                  <a:pt x="827711" y="58558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24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    陶瓷窗常规保护手段</a:t>
            </a:r>
            <a:endParaRPr lang="en-US" sz="24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467544" y="1867944"/>
            <a:ext cx="2045221" cy="2425152"/>
            <a:chOff x="323528" y="1847903"/>
            <a:chExt cx="2261245" cy="2569168"/>
          </a:xfrm>
        </p:grpSpPr>
        <p:pic>
          <p:nvPicPr>
            <p:cNvPr id="3074" name="图片 4"/>
            <p:cNvPicPr>
              <a:picLocks noChangeAspect="1" noChangeArrowheads="1"/>
            </p:cNvPicPr>
            <p:nvPr/>
          </p:nvPicPr>
          <p:blipFill>
            <a:blip r:embed="rId8" cstate="email"/>
            <a:srcRect/>
            <a:stretch>
              <a:fillRect/>
            </a:stretch>
          </p:blipFill>
          <p:spPr bwMode="auto">
            <a:xfrm>
              <a:off x="323528" y="1847903"/>
              <a:ext cx="2232248" cy="2316257"/>
            </a:xfrm>
            <a:prstGeom prst="rect">
              <a:avLst/>
            </a:prstGeom>
            <a:noFill/>
            <a:ln w="28575">
              <a:solidFill>
                <a:srgbClr val="94C94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Rectangle 22"/>
            <p:cNvSpPr/>
            <p:nvPr>
              <p:custDataLst>
                <p:tags r:id="rId5"/>
              </p:custDataLst>
            </p:nvPr>
          </p:nvSpPr>
          <p:spPr bwMode="auto">
            <a:xfrm>
              <a:off x="1396638" y="4164160"/>
              <a:ext cx="1188135" cy="252911"/>
            </a:xfrm>
            <a:custGeom>
              <a:avLst/>
              <a:gdLst>
                <a:gd name="connsiteX0" fmla="*/ 0 w 1368152"/>
                <a:gd name="connsiteY0" fmla="*/ 0 h 324000"/>
                <a:gd name="connsiteX1" fmla="*/ 1368152 w 1368152"/>
                <a:gd name="connsiteY1" fmla="*/ 0 h 324000"/>
                <a:gd name="connsiteX2" fmla="*/ 1368152 w 1368152"/>
                <a:gd name="connsiteY2" fmla="*/ 324000 h 324000"/>
                <a:gd name="connsiteX3" fmla="*/ 0 w 1368152"/>
                <a:gd name="connsiteY3" fmla="*/ 324000 h 324000"/>
                <a:gd name="connsiteX4" fmla="*/ 0 w 1368152"/>
                <a:gd name="connsiteY4" fmla="*/ 0 h 324000"/>
                <a:gd name="connsiteX0-1" fmla="*/ 0 w 1368152"/>
                <a:gd name="connsiteY0-2" fmla="*/ 0 h 324000"/>
                <a:gd name="connsiteX1-3" fmla="*/ 1368152 w 1368152"/>
                <a:gd name="connsiteY1-4" fmla="*/ 0 h 324000"/>
                <a:gd name="connsiteX2-5" fmla="*/ 1368152 w 1368152"/>
                <a:gd name="connsiteY2-6" fmla="*/ 324000 h 324000"/>
                <a:gd name="connsiteX3-7" fmla="*/ 279400 w 1368152"/>
                <a:gd name="connsiteY3-8" fmla="*/ 324000 h 324000"/>
                <a:gd name="connsiteX4-9" fmla="*/ 0 w 1368152"/>
                <a:gd name="connsiteY4-10" fmla="*/ 0 h 32400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68152" h="324000">
                  <a:moveTo>
                    <a:pt x="0" y="0"/>
                  </a:moveTo>
                  <a:lnTo>
                    <a:pt x="1368152" y="0"/>
                  </a:lnTo>
                  <a:lnTo>
                    <a:pt x="1368152" y="324000"/>
                  </a:lnTo>
                  <a:lnTo>
                    <a:pt x="279400" y="324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4C949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91428" tIns="137172" rIns="91428" bIns="45715" anchor="ctr"/>
            <a:lstStyle/>
            <a:p>
              <a:pPr algn="r" defTabSz="913765">
                <a:lnSpc>
                  <a:spcPct val="90000"/>
                </a:lnSpc>
                <a:spcBef>
                  <a:spcPts val="630"/>
                </a:spcBef>
                <a:buClr>
                  <a:schemeClr val="bg2">
                    <a:lumMod val="75000"/>
                  </a:schemeClr>
                </a:buClr>
                <a:buSzPct val="100000"/>
                <a:defRPr/>
              </a:pPr>
              <a:r>
                <a:rPr lang="zh-CN" altLang="en-US" sz="1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系统示意图</a:t>
              </a:r>
              <a:endParaRPr lang="en-US" sz="1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6645262" y="1821712"/>
            <a:ext cx="2103400" cy="2393797"/>
            <a:chOff x="2951609" y="1878777"/>
            <a:chExt cx="1695450" cy="1908436"/>
          </a:xfrm>
        </p:grpSpPr>
        <p:pic>
          <p:nvPicPr>
            <p:cNvPr id="3075" name="图片 5"/>
            <p:cNvPicPr>
              <a:picLocks noChangeAspect="1" noChangeArrowheads="1"/>
            </p:cNvPicPr>
            <p:nvPr/>
          </p:nvPicPr>
          <p:blipFill>
            <a:blip r:embed="rId9" cstate="screen"/>
            <a:srcRect/>
            <a:stretch>
              <a:fillRect/>
            </a:stretch>
          </p:blipFill>
          <p:spPr bwMode="auto">
            <a:xfrm>
              <a:off x="2951609" y="1878777"/>
              <a:ext cx="1695450" cy="1676400"/>
            </a:xfrm>
            <a:prstGeom prst="rect">
              <a:avLst/>
            </a:prstGeom>
            <a:noFill/>
            <a:ln w="28575">
              <a:solidFill>
                <a:srgbClr val="94C94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Rectangle 22"/>
            <p:cNvSpPr/>
            <p:nvPr>
              <p:custDataLst>
                <p:tags r:id="rId4"/>
              </p:custDataLst>
            </p:nvPr>
          </p:nvSpPr>
          <p:spPr bwMode="auto">
            <a:xfrm>
              <a:off x="3059832" y="3581832"/>
              <a:ext cx="1587227" cy="205381"/>
            </a:xfrm>
            <a:custGeom>
              <a:avLst/>
              <a:gdLst>
                <a:gd name="connsiteX0" fmla="*/ 0 w 1368152"/>
                <a:gd name="connsiteY0" fmla="*/ 0 h 324000"/>
                <a:gd name="connsiteX1" fmla="*/ 1368152 w 1368152"/>
                <a:gd name="connsiteY1" fmla="*/ 0 h 324000"/>
                <a:gd name="connsiteX2" fmla="*/ 1368152 w 1368152"/>
                <a:gd name="connsiteY2" fmla="*/ 324000 h 324000"/>
                <a:gd name="connsiteX3" fmla="*/ 0 w 1368152"/>
                <a:gd name="connsiteY3" fmla="*/ 324000 h 324000"/>
                <a:gd name="connsiteX4" fmla="*/ 0 w 1368152"/>
                <a:gd name="connsiteY4" fmla="*/ 0 h 324000"/>
                <a:gd name="connsiteX0-1" fmla="*/ 0 w 1368152"/>
                <a:gd name="connsiteY0-2" fmla="*/ 0 h 324000"/>
                <a:gd name="connsiteX1-3" fmla="*/ 1368152 w 1368152"/>
                <a:gd name="connsiteY1-4" fmla="*/ 0 h 324000"/>
                <a:gd name="connsiteX2-5" fmla="*/ 1368152 w 1368152"/>
                <a:gd name="connsiteY2-6" fmla="*/ 324000 h 324000"/>
                <a:gd name="connsiteX3-7" fmla="*/ 279400 w 1368152"/>
                <a:gd name="connsiteY3-8" fmla="*/ 324000 h 324000"/>
                <a:gd name="connsiteX4-9" fmla="*/ 0 w 1368152"/>
                <a:gd name="connsiteY4-10" fmla="*/ 0 h 32400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68152" h="324000">
                  <a:moveTo>
                    <a:pt x="0" y="0"/>
                  </a:moveTo>
                  <a:lnTo>
                    <a:pt x="1368152" y="0"/>
                  </a:lnTo>
                  <a:lnTo>
                    <a:pt x="1368152" y="324000"/>
                  </a:lnTo>
                  <a:lnTo>
                    <a:pt x="279400" y="324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4C949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91428" tIns="137172" rIns="91428" bIns="45715" anchor="ctr"/>
            <a:lstStyle/>
            <a:p>
              <a:pPr algn="r" defTabSz="913765">
                <a:lnSpc>
                  <a:spcPct val="90000"/>
                </a:lnSpc>
                <a:spcBef>
                  <a:spcPts val="630"/>
                </a:spcBef>
                <a:buClr>
                  <a:schemeClr val="bg2">
                    <a:lumMod val="75000"/>
                  </a:schemeClr>
                </a:buClr>
                <a:buSzPct val="100000"/>
                <a:defRPr/>
              </a:pPr>
              <a:r>
                <a:rPr lang="zh-CN" altLang="en-US" sz="1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观察窗与光纤安装</a:t>
              </a:r>
              <a:endParaRPr lang="en-US" sz="1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2832536" y="2379738"/>
            <a:ext cx="3470707" cy="1541823"/>
            <a:chOff x="5188074" y="1845939"/>
            <a:chExt cx="3470707" cy="1541823"/>
          </a:xfrm>
        </p:grpSpPr>
        <p:pic>
          <p:nvPicPr>
            <p:cNvPr id="3076" name="图片 7"/>
            <p:cNvPicPr>
              <a:picLocks noChangeAspect="1" noChangeArrowheads="1"/>
            </p:cNvPicPr>
            <p:nvPr/>
          </p:nvPicPr>
          <p:blipFill>
            <a:blip r:embed="rId10" cstate="screen"/>
            <a:srcRect/>
            <a:stretch>
              <a:fillRect/>
            </a:stretch>
          </p:blipFill>
          <p:spPr bwMode="auto">
            <a:xfrm>
              <a:off x="5188074" y="1845939"/>
              <a:ext cx="3466729" cy="1288912"/>
            </a:xfrm>
            <a:prstGeom prst="rect">
              <a:avLst/>
            </a:prstGeom>
            <a:noFill/>
            <a:ln w="28575">
              <a:solidFill>
                <a:srgbClr val="94C94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Rectangle 22"/>
            <p:cNvSpPr/>
            <p:nvPr>
              <p:custDataLst>
                <p:tags r:id="rId3"/>
              </p:custDataLst>
            </p:nvPr>
          </p:nvSpPr>
          <p:spPr bwMode="auto">
            <a:xfrm>
              <a:off x="7071554" y="3134851"/>
              <a:ext cx="1587227" cy="252911"/>
            </a:xfrm>
            <a:custGeom>
              <a:avLst/>
              <a:gdLst>
                <a:gd name="connsiteX0" fmla="*/ 0 w 1368152"/>
                <a:gd name="connsiteY0" fmla="*/ 0 h 324000"/>
                <a:gd name="connsiteX1" fmla="*/ 1368152 w 1368152"/>
                <a:gd name="connsiteY1" fmla="*/ 0 h 324000"/>
                <a:gd name="connsiteX2" fmla="*/ 1368152 w 1368152"/>
                <a:gd name="connsiteY2" fmla="*/ 324000 h 324000"/>
                <a:gd name="connsiteX3" fmla="*/ 0 w 1368152"/>
                <a:gd name="connsiteY3" fmla="*/ 324000 h 324000"/>
                <a:gd name="connsiteX4" fmla="*/ 0 w 1368152"/>
                <a:gd name="connsiteY4" fmla="*/ 0 h 324000"/>
                <a:gd name="connsiteX0-1" fmla="*/ 0 w 1368152"/>
                <a:gd name="connsiteY0-2" fmla="*/ 0 h 324000"/>
                <a:gd name="connsiteX1-3" fmla="*/ 1368152 w 1368152"/>
                <a:gd name="connsiteY1-4" fmla="*/ 0 h 324000"/>
                <a:gd name="connsiteX2-5" fmla="*/ 1368152 w 1368152"/>
                <a:gd name="connsiteY2-6" fmla="*/ 324000 h 324000"/>
                <a:gd name="connsiteX3-7" fmla="*/ 279400 w 1368152"/>
                <a:gd name="connsiteY3-8" fmla="*/ 324000 h 324000"/>
                <a:gd name="connsiteX4-9" fmla="*/ 0 w 1368152"/>
                <a:gd name="connsiteY4-10" fmla="*/ 0 h 32400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68152" h="324000">
                  <a:moveTo>
                    <a:pt x="0" y="0"/>
                  </a:moveTo>
                  <a:lnTo>
                    <a:pt x="1368152" y="0"/>
                  </a:lnTo>
                  <a:lnTo>
                    <a:pt x="1368152" y="324000"/>
                  </a:lnTo>
                  <a:lnTo>
                    <a:pt x="279400" y="324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4C949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91428" tIns="137172" rIns="91428" bIns="45715" anchor="ctr"/>
            <a:lstStyle/>
            <a:p>
              <a:pPr algn="r" defTabSz="913765">
                <a:lnSpc>
                  <a:spcPct val="90000"/>
                </a:lnSpc>
                <a:spcBef>
                  <a:spcPts val="630"/>
                </a:spcBef>
                <a:buClr>
                  <a:schemeClr val="bg2">
                    <a:lumMod val="75000"/>
                  </a:schemeClr>
                </a:buClr>
                <a:buSzPct val="100000"/>
                <a:defRPr/>
              </a:pPr>
              <a:r>
                <a:rPr lang="zh-CN" altLang="en-US" sz="1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在线的</a:t>
              </a:r>
              <a:r>
                <a:rPr lang="en-US" altLang="zh-CN" sz="1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ARC</a:t>
              </a:r>
              <a:r>
                <a:rPr lang="zh-CN" altLang="en-US" sz="1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探测器</a:t>
              </a:r>
              <a:endParaRPr lang="en-US" sz="1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</p:grpSp>
      <p:sp>
        <p:nvSpPr>
          <p:cNvPr id="16" name="矩形 15"/>
          <p:cNvSpPr>
            <a:spLocks noChangeArrowheads="1"/>
          </p:cNvSpPr>
          <p:nvPr/>
        </p:nvSpPr>
        <p:spPr bwMode="auto">
          <a:xfrm>
            <a:off x="395538" y="4486134"/>
            <a:ext cx="8425134" cy="2183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Blip>
                <a:blip r:embed="rId11"/>
              </a:buBlip>
              <a:defRPr sz="28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▒"/>
              <a:defRPr kumimoji="1" sz="2400">
                <a:solidFill>
                  <a:srgbClr val="0000FF"/>
                </a:solidFill>
                <a:latin typeface="Arial Narrow" panose="020B0606020202030204" pitchFamily="34" charset="0"/>
                <a:ea typeface="华文楷体" panose="02010600040101010101" pitchFamily="2" charset="-122"/>
                <a:cs typeface="华文楷体" panose="02010600040101010101" pitchFamily="2" charset="-122"/>
              </a:defRPr>
            </a:lvl2pPr>
            <a:lvl3pPr marL="1143000" indent="-228600">
              <a:spcBef>
                <a:spcPct val="20000"/>
              </a:spcBef>
              <a:buBlip>
                <a:blip r:embed="rId12"/>
              </a:buBlip>
              <a:defRPr kumimoji="1" sz="2000">
                <a:solidFill>
                  <a:srgbClr val="E46C0A"/>
                </a:solidFill>
                <a:latin typeface="Arial Narrow" panose="020B0606020202030204" pitchFamily="34" charset="0"/>
                <a:ea typeface="华文仿宋" panose="02010600040101010101" pitchFamily="2" charset="-122"/>
                <a:cs typeface="华文仿宋" panose="0201060004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9pPr>
          </a:lstStyle>
          <a:p>
            <a:pPr algn="just">
              <a:lnSpc>
                <a:spcPct val="180000"/>
              </a:lnSpc>
              <a:spcBef>
                <a:spcPct val="0"/>
              </a:spcBef>
              <a:buFontTx/>
              <a:buNone/>
            </a:pPr>
            <a:r>
              <a:rPr lang="zh-CN" altLang="en-US" sz="2400" b="0" dirty="0">
                <a:solidFill>
                  <a:srgbClr val="558ED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行情况</a:t>
            </a:r>
            <a:endParaRPr lang="en-US" altLang="zh-CN" sz="2400" b="0" dirty="0">
              <a:solidFill>
                <a:srgbClr val="558ED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8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投入</a:t>
            </a:r>
            <a:r>
              <a:rPr lang="zh-CN" altLang="en-US" sz="18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运行</a:t>
            </a:r>
            <a:r>
              <a:rPr lang="en-US" altLang="zh-CN" sz="18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sz="18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来可靠</a:t>
            </a: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稳定，已成为新装速调管陶瓷</a:t>
            </a:r>
            <a:r>
              <a:rPr lang="zh-CN" altLang="en-US" sz="18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窗的</a:t>
            </a: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常规保护手段之一</a:t>
            </a:r>
            <a:endParaRPr lang="en-US" altLang="zh-CN" sz="18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8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保护新装速调管输出陶瓷窗发挥了重要作用</a:t>
            </a:r>
            <a:endParaRPr lang="en-US" altLang="zh-CN" sz="18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8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因采购成本较高，目前维持</a:t>
            </a:r>
            <a:r>
              <a:rPr lang="en-US" altLang="zh-CN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台（套</a:t>
            </a:r>
            <a:r>
              <a:rPr lang="zh-CN" altLang="en-US" sz="18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18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1367643" y="260986"/>
            <a:ext cx="7549225" cy="529596"/>
          </a:xfrm>
        </p:spPr>
        <p:txBody>
          <a:bodyPr/>
          <a:lstStyle/>
          <a:p>
            <a:r>
              <a:rPr lang="zh-CN" altLang="en-US" dirty="0"/>
              <a:t>微波功率采集与传输系统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2799"/>
    </mc:Choice>
    <mc:Fallback xmlns="">
      <p:transition spd="slow" advTm="42799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低电平</a:t>
            </a:r>
            <a:r>
              <a:rPr lang="zh-CN" altLang="en-US" dirty="0" smtClean="0"/>
              <a:t>系统</a:t>
            </a:r>
            <a:endParaRPr lang="zh-CN" altLang="en-US" dirty="0"/>
          </a:p>
        </p:txBody>
      </p:sp>
      <p:sp>
        <p:nvSpPr>
          <p:cNvPr id="11" name="文本框 10"/>
          <p:cNvSpPr txBox="1"/>
          <p:nvPr/>
        </p:nvSpPr>
        <p:spPr>
          <a:xfrm>
            <a:off x="1259632" y="4149080"/>
            <a:ext cx="698477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altLang="zh-CN" sz="4000" b="1" dirty="0" smtClean="0">
                <a:solidFill>
                  <a:srgbClr val="8E499C"/>
                </a:solidFill>
              </a:rPr>
              <a:t>66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台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备在运行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/>
            <a:r>
              <a:rPr lang="en-US" altLang="zh-CN" sz="4000" b="1" dirty="0" smtClean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次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软硬件故障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spcBef>
                <a:spcPts val="1200"/>
              </a:spcBef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本年度仅运行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个月（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5-7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）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/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目前已全部替换为数字低电平相控（共计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2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套）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Rectangle 22"/>
          <p:cNvSpPr/>
          <p:nvPr>
            <p:custDataLst>
              <p:tags r:id="rId1"/>
            </p:custDataLst>
          </p:nvPr>
        </p:nvSpPr>
        <p:spPr bwMode="auto">
          <a:xfrm>
            <a:off x="0" y="1062262"/>
            <a:ext cx="5868144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8E499C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            </a:t>
            </a:r>
            <a:r>
              <a:rPr lang="zh-CN" altLang="en-US" sz="32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低</a:t>
            </a: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电平</a:t>
            </a:r>
            <a:r>
              <a:rPr lang="zh-CN" altLang="en-US" sz="32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系统</a:t>
            </a:r>
            <a:endParaRPr lang="en-US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15" name="Rectangle 22"/>
          <p:cNvSpPr/>
          <p:nvPr>
            <p:custDataLst>
              <p:tags r:id="rId2"/>
            </p:custDataLst>
          </p:nvPr>
        </p:nvSpPr>
        <p:spPr bwMode="auto">
          <a:xfrm>
            <a:off x="5317604" y="1052738"/>
            <a:ext cx="3843858" cy="585589"/>
          </a:xfrm>
          <a:custGeom>
            <a:avLst/>
            <a:gdLst>
              <a:gd name="connsiteX0" fmla="*/ 0 w 4206255"/>
              <a:gd name="connsiteY0" fmla="*/ 0 h 576064"/>
              <a:gd name="connsiteX1" fmla="*/ 4206255 w 4206255"/>
              <a:gd name="connsiteY1" fmla="*/ 0 h 576064"/>
              <a:gd name="connsiteX2" fmla="*/ 4206255 w 4206255"/>
              <a:gd name="connsiteY2" fmla="*/ 576064 h 576064"/>
              <a:gd name="connsiteX3" fmla="*/ 0 w 4206255"/>
              <a:gd name="connsiteY3" fmla="*/ 576064 h 576064"/>
              <a:gd name="connsiteX4" fmla="*/ 0 w 4206255"/>
              <a:gd name="connsiteY4" fmla="*/ 0 h 576064"/>
              <a:gd name="connsiteX0-1" fmla="*/ 0 w 4749180"/>
              <a:gd name="connsiteY0-2" fmla="*/ 0 h 585589"/>
              <a:gd name="connsiteX1-3" fmla="*/ 4749180 w 4749180"/>
              <a:gd name="connsiteY1-4" fmla="*/ 9525 h 585589"/>
              <a:gd name="connsiteX2-5" fmla="*/ 4749180 w 4749180"/>
              <a:gd name="connsiteY2-6" fmla="*/ 585589 h 585589"/>
              <a:gd name="connsiteX3-7" fmla="*/ 542925 w 4749180"/>
              <a:gd name="connsiteY3-8" fmla="*/ 585589 h 585589"/>
              <a:gd name="connsiteX4-9" fmla="*/ 0 w 4749180"/>
              <a:gd name="connsiteY4-10" fmla="*/ 0 h 585589"/>
              <a:gd name="connsiteX0-11" fmla="*/ 0 w 4996820"/>
              <a:gd name="connsiteY0-12" fmla="*/ 0 h 585589"/>
              <a:gd name="connsiteX1-13" fmla="*/ 4996820 w 4996820"/>
              <a:gd name="connsiteY1-14" fmla="*/ 9525 h 585589"/>
              <a:gd name="connsiteX2-15" fmla="*/ 4996820 w 4996820"/>
              <a:gd name="connsiteY2-16" fmla="*/ 585589 h 585589"/>
              <a:gd name="connsiteX3-17" fmla="*/ 790565 w 4996820"/>
              <a:gd name="connsiteY3-18" fmla="*/ 585589 h 585589"/>
              <a:gd name="connsiteX4-19" fmla="*/ 0 w 4996820"/>
              <a:gd name="connsiteY4-20" fmla="*/ 0 h 585589"/>
              <a:gd name="connsiteX0-21" fmla="*/ 0 w 4996820"/>
              <a:gd name="connsiteY0-22" fmla="*/ 0 h 585589"/>
              <a:gd name="connsiteX1-23" fmla="*/ 4996820 w 4996820"/>
              <a:gd name="connsiteY1-24" fmla="*/ 9525 h 585589"/>
              <a:gd name="connsiteX2-25" fmla="*/ 4996820 w 4996820"/>
              <a:gd name="connsiteY2-26" fmla="*/ 585589 h 585589"/>
              <a:gd name="connsiteX3-27" fmla="*/ 827711 w 4996820"/>
              <a:gd name="connsiteY3-28" fmla="*/ 585589 h 585589"/>
              <a:gd name="connsiteX4-29" fmla="*/ 0 w 4996820"/>
              <a:gd name="connsiteY4-30" fmla="*/ 0 h 58558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996820" h="585589">
                <a:moveTo>
                  <a:pt x="0" y="0"/>
                </a:moveTo>
                <a:lnTo>
                  <a:pt x="4996820" y="9525"/>
                </a:lnTo>
                <a:lnTo>
                  <a:pt x="4996820" y="585589"/>
                </a:lnTo>
                <a:lnTo>
                  <a:pt x="827711" y="585589"/>
                </a:lnTo>
                <a:lnTo>
                  <a:pt x="0" y="0"/>
                </a:lnTo>
                <a:close/>
              </a:path>
            </a:pathLst>
          </a:cu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 运行稳定</a:t>
            </a:r>
            <a:endParaRPr lang="en-US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aphicFrame>
        <p:nvGraphicFramePr>
          <p:cNvPr id="4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2264342"/>
              </p:ext>
            </p:extLst>
          </p:nvPr>
        </p:nvGraphicFramePr>
        <p:xfrm>
          <a:off x="395536" y="1772816"/>
          <a:ext cx="8449320" cy="23160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5232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4016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6815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32052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80791">
                <a:tc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2021-2022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2022-2023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2023-2024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2024-2025</a:t>
                      </a:r>
                      <a:endParaRPr lang="zh-CN" alt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80791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总相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/</a:t>
                      </a:r>
                      <a:endParaRPr lang="zh-CN" alt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3872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 smtClean="0"/>
                        <a:t>软件</a:t>
                      </a:r>
                      <a:r>
                        <a:rPr lang="en-US" altLang="zh-CN" dirty="0" smtClean="0"/>
                        <a:t>+</a:t>
                      </a:r>
                      <a:r>
                        <a:rPr lang="zh-CN" altLang="en-US" dirty="0" smtClean="0"/>
                        <a:t>工</a:t>
                      </a:r>
                      <a:r>
                        <a:rPr lang="zh-CN" altLang="en-US" dirty="0"/>
                        <a:t>控机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12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15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4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0</a:t>
                      </a:r>
                      <a:endParaRPr lang="zh-CN" alt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80791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dirty="0" smtClean="0"/>
                        <a:t>PAD+I</a:t>
                      </a:r>
                      <a:r>
                        <a:rPr lang="el-GR" altLang="zh-CN" dirty="0" smtClean="0"/>
                        <a:t>Φ</a:t>
                      </a:r>
                      <a:r>
                        <a:rPr lang="en-US" altLang="zh-CN" dirty="0" smtClean="0"/>
                        <a:t>A</a:t>
                      </a:r>
                      <a:r>
                        <a:rPr lang="zh-CN" altLang="en-US" dirty="0" smtClean="0"/>
                        <a:t>（旧相控）</a:t>
                      </a:r>
                      <a:endParaRPr lang="en-US" altLang="zh-CN" dirty="0" smtClean="0"/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dirty="0" smtClean="0"/>
                        <a:t>or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dirty="0" smtClean="0"/>
                        <a:t>低电平机箱</a:t>
                      </a:r>
                      <a:r>
                        <a:rPr lang="en-US" altLang="zh-CN" dirty="0" smtClean="0"/>
                        <a:t>+</a:t>
                      </a:r>
                      <a:r>
                        <a:rPr lang="zh-CN" altLang="en-US" dirty="0" smtClean="0"/>
                        <a:t>射频前端</a:t>
                      </a:r>
                      <a:r>
                        <a:rPr lang="en-US" altLang="zh-CN" dirty="0" smtClean="0"/>
                        <a:t>+</a:t>
                      </a:r>
                      <a:r>
                        <a:rPr lang="zh-CN" altLang="en-US" dirty="0" smtClean="0"/>
                        <a:t>固放（新相控）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3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2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2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0</a:t>
                      </a:r>
                      <a:endParaRPr lang="zh-CN" alt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2799"/>
    </mc:Choice>
    <mc:Fallback xmlns="">
      <p:transition spd="slow" advTm="42799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低电平</a:t>
            </a:r>
            <a:r>
              <a:rPr lang="zh-CN" altLang="en-US" dirty="0" smtClean="0"/>
              <a:t>系统</a:t>
            </a:r>
            <a:endParaRPr lang="zh-CN" altLang="en-US" dirty="0"/>
          </a:p>
        </p:txBody>
      </p:sp>
      <p:sp>
        <p:nvSpPr>
          <p:cNvPr id="12" name="Rectangle 22"/>
          <p:cNvSpPr/>
          <p:nvPr>
            <p:custDataLst>
              <p:tags r:id="rId1"/>
            </p:custDataLst>
          </p:nvPr>
        </p:nvSpPr>
        <p:spPr bwMode="auto">
          <a:xfrm>
            <a:off x="0" y="1062262"/>
            <a:ext cx="5868144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8E499C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en-US" altLang="zh-CN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   </a:t>
            </a:r>
            <a:r>
              <a:rPr lang="en-US" altLang="zh-CN" sz="32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32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低</a:t>
            </a: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电平</a:t>
            </a:r>
            <a:r>
              <a:rPr lang="zh-CN" altLang="en-US" sz="32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系统</a:t>
            </a: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主要故障</a:t>
            </a:r>
            <a:endParaRPr lang="en-US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15" name="Rectangle 22"/>
          <p:cNvSpPr/>
          <p:nvPr>
            <p:custDataLst>
              <p:tags r:id="rId2"/>
            </p:custDataLst>
          </p:nvPr>
        </p:nvSpPr>
        <p:spPr bwMode="auto">
          <a:xfrm>
            <a:off x="5317604" y="1052738"/>
            <a:ext cx="3843858" cy="585589"/>
          </a:xfrm>
          <a:custGeom>
            <a:avLst/>
            <a:gdLst>
              <a:gd name="connsiteX0" fmla="*/ 0 w 4206255"/>
              <a:gd name="connsiteY0" fmla="*/ 0 h 576064"/>
              <a:gd name="connsiteX1" fmla="*/ 4206255 w 4206255"/>
              <a:gd name="connsiteY1" fmla="*/ 0 h 576064"/>
              <a:gd name="connsiteX2" fmla="*/ 4206255 w 4206255"/>
              <a:gd name="connsiteY2" fmla="*/ 576064 h 576064"/>
              <a:gd name="connsiteX3" fmla="*/ 0 w 4206255"/>
              <a:gd name="connsiteY3" fmla="*/ 576064 h 576064"/>
              <a:gd name="connsiteX4" fmla="*/ 0 w 4206255"/>
              <a:gd name="connsiteY4" fmla="*/ 0 h 576064"/>
              <a:gd name="connsiteX0-1" fmla="*/ 0 w 4749180"/>
              <a:gd name="connsiteY0-2" fmla="*/ 0 h 585589"/>
              <a:gd name="connsiteX1-3" fmla="*/ 4749180 w 4749180"/>
              <a:gd name="connsiteY1-4" fmla="*/ 9525 h 585589"/>
              <a:gd name="connsiteX2-5" fmla="*/ 4749180 w 4749180"/>
              <a:gd name="connsiteY2-6" fmla="*/ 585589 h 585589"/>
              <a:gd name="connsiteX3-7" fmla="*/ 542925 w 4749180"/>
              <a:gd name="connsiteY3-8" fmla="*/ 585589 h 585589"/>
              <a:gd name="connsiteX4-9" fmla="*/ 0 w 4749180"/>
              <a:gd name="connsiteY4-10" fmla="*/ 0 h 585589"/>
              <a:gd name="connsiteX0-11" fmla="*/ 0 w 4996820"/>
              <a:gd name="connsiteY0-12" fmla="*/ 0 h 585589"/>
              <a:gd name="connsiteX1-13" fmla="*/ 4996820 w 4996820"/>
              <a:gd name="connsiteY1-14" fmla="*/ 9525 h 585589"/>
              <a:gd name="connsiteX2-15" fmla="*/ 4996820 w 4996820"/>
              <a:gd name="connsiteY2-16" fmla="*/ 585589 h 585589"/>
              <a:gd name="connsiteX3-17" fmla="*/ 790565 w 4996820"/>
              <a:gd name="connsiteY3-18" fmla="*/ 585589 h 585589"/>
              <a:gd name="connsiteX4-19" fmla="*/ 0 w 4996820"/>
              <a:gd name="connsiteY4-20" fmla="*/ 0 h 585589"/>
              <a:gd name="connsiteX0-21" fmla="*/ 0 w 4996820"/>
              <a:gd name="connsiteY0-22" fmla="*/ 0 h 585589"/>
              <a:gd name="connsiteX1-23" fmla="*/ 4996820 w 4996820"/>
              <a:gd name="connsiteY1-24" fmla="*/ 9525 h 585589"/>
              <a:gd name="connsiteX2-25" fmla="*/ 4996820 w 4996820"/>
              <a:gd name="connsiteY2-26" fmla="*/ 585589 h 585589"/>
              <a:gd name="connsiteX3-27" fmla="*/ 827711 w 4996820"/>
              <a:gd name="connsiteY3-28" fmla="*/ 585589 h 585589"/>
              <a:gd name="connsiteX4-29" fmla="*/ 0 w 4996820"/>
              <a:gd name="connsiteY4-30" fmla="*/ 0 h 58558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996820" h="585589">
                <a:moveTo>
                  <a:pt x="0" y="0"/>
                </a:moveTo>
                <a:lnTo>
                  <a:pt x="4996820" y="9525"/>
                </a:lnTo>
                <a:lnTo>
                  <a:pt x="4996820" y="585589"/>
                </a:lnTo>
                <a:lnTo>
                  <a:pt x="827711" y="585589"/>
                </a:lnTo>
                <a:lnTo>
                  <a:pt x="0" y="0"/>
                </a:lnTo>
                <a:close/>
              </a:path>
            </a:pathLst>
          </a:cu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 排查处理</a:t>
            </a:r>
            <a:endParaRPr lang="en-US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9" name="内容占位符 1"/>
          <p:cNvSpPr txBox="1"/>
          <p:nvPr/>
        </p:nvSpPr>
        <p:spPr>
          <a:xfrm>
            <a:off x="107504" y="1772816"/>
            <a:ext cx="8928992" cy="488475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 algn="just" fontAlgn="auto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558ED5"/>
              </a:buClr>
              <a:buFont typeface="Wingdings" panose="05000000000000000000" pitchFamily="2" charset="2"/>
              <a:buChar char="n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本轮运行没有故障处理</a:t>
            </a:r>
            <a:endParaRPr lang="en-US" altLang="zh-CN" sz="1800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2799"/>
    </mc:Choice>
    <mc:Fallback xmlns="">
      <p:transition spd="slow" advTm="42799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低电平</a:t>
            </a:r>
            <a:r>
              <a:rPr lang="zh-CN" altLang="en-US" dirty="0" smtClean="0"/>
              <a:t>系统</a:t>
            </a:r>
            <a:endParaRPr lang="zh-CN" altLang="en-US" dirty="0"/>
          </a:p>
        </p:txBody>
      </p:sp>
      <p:sp>
        <p:nvSpPr>
          <p:cNvPr id="12" name="Rectangle 22"/>
          <p:cNvSpPr/>
          <p:nvPr>
            <p:custDataLst>
              <p:tags r:id="rId1"/>
            </p:custDataLst>
          </p:nvPr>
        </p:nvSpPr>
        <p:spPr bwMode="auto">
          <a:xfrm>
            <a:off x="0" y="1062262"/>
            <a:ext cx="5868144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8E499C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en-US" altLang="zh-CN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    </a:t>
            </a:r>
            <a:r>
              <a:rPr lang="zh-CN" altLang="en-US" sz="32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低</a:t>
            </a: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电平</a:t>
            </a:r>
            <a:r>
              <a:rPr lang="zh-CN" altLang="en-US" sz="32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系统升级</a:t>
            </a: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改造</a:t>
            </a:r>
            <a:endParaRPr lang="en-US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15" name="Rectangle 22"/>
          <p:cNvSpPr/>
          <p:nvPr>
            <p:custDataLst>
              <p:tags r:id="rId2"/>
            </p:custDataLst>
          </p:nvPr>
        </p:nvSpPr>
        <p:spPr bwMode="auto">
          <a:xfrm>
            <a:off x="5317604" y="1052738"/>
            <a:ext cx="3843858" cy="585589"/>
          </a:xfrm>
          <a:custGeom>
            <a:avLst/>
            <a:gdLst>
              <a:gd name="connsiteX0" fmla="*/ 0 w 4206255"/>
              <a:gd name="connsiteY0" fmla="*/ 0 h 576064"/>
              <a:gd name="connsiteX1" fmla="*/ 4206255 w 4206255"/>
              <a:gd name="connsiteY1" fmla="*/ 0 h 576064"/>
              <a:gd name="connsiteX2" fmla="*/ 4206255 w 4206255"/>
              <a:gd name="connsiteY2" fmla="*/ 576064 h 576064"/>
              <a:gd name="connsiteX3" fmla="*/ 0 w 4206255"/>
              <a:gd name="connsiteY3" fmla="*/ 576064 h 576064"/>
              <a:gd name="connsiteX4" fmla="*/ 0 w 4206255"/>
              <a:gd name="connsiteY4" fmla="*/ 0 h 576064"/>
              <a:gd name="connsiteX0-1" fmla="*/ 0 w 4749180"/>
              <a:gd name="connsiteY0-2" fmla="*/ 0 h 585589"/>
              <a:gd name="connsiteX1-3" fmla="*/ 4749180 w 4749180"/>
              <a:gd name="connsiteY1-4" fmla="*/ 9525 h 585589"/>
              <a:gd name="connsiteX2-5" fmla="*/ 4749180 w 4749180"/>
              <a:gd name="connsiteY2-6" fmla="*/ 585589 h 585589"/>
              <a:gd name="connsiteX3-7" fmla="*/ 542925 w 4749180"/>
              <a:gd name="connsiteY3-8" fmla="*/ 585589 h 585589"/>
              <a:gd name="connsiteX4-9" fmla="*/ 0 w 4749180"/>
              <a:gd name="connsiteY4-10" fmla="*/ 0 h 585589"/>
              <a:gd name="connsiteX0-11" fmla="*/ 0 w 4996820"/>
              <a:gd name="connsiteY0-12" fmla="*/ 0 h 585589"/>
              <a:gd name="connsiteX1-13" fmla="*/ 4996820 w 4996820"/>
              <a:gd name="connsiteY1-14" fmla="*/ 9525 h 585589"/>
              <a:gd name="connsiteX2-15" fmla="*/ 4996820 w 4996820"/>
              <a:gd name="connsiteY2-16" fmla="*/ 585589 h 585589"/>
              <a:gd name="connsiteX3-17" fmla="*/ 790565 w 4996820"/>
              <a:gd name="connsiteY3-18" fmla="*/ 585589 h 585589"/>
              <a:gd name="connsiteX4-19" fmla="*/ 0 w 4996820"/>
              <a:gd name="connsiteY4-20" fmla="*/ 0 h 585589"/>
              <a:gd name="connsiteX0-21" fmla="*/ 0 w 4996820"/>
              <a:gd name="connsiteY0-22" fmla="*/ 0 h 585589"/>
              <a:gd name="connsiteX1-23" fmla="*/ 4996820 w 4996820"/>
              <a:gd name="connsiteY1-24" fmla="*/ 9525 h 585589"/>
              <a:gd name="connsiteX2-25" fmla="*/ 4996820 w 4996820"/>
              <a:gd name="connsiteY2-26" fmla="*/ 585589 h 585589"/>
              <a:gd name="connsiteX3-27" fmla="*/ 827711 w 4996820"/>
              <a:gd name="connsiteY3-28" fmla="*/ 585589 h 585589"/>
              <a:gd name="connsiteX4-29" fmla="*/ 0 w 4996820"/>
              <a:gd name="connsiteY4-30" fmla="*/ 0 h 58558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996820" h="585589">
                <a:moveTo>
                  <a:pt x="0" y="0"/>
                </a:moveTo>
                <a:lnTo>
                  <a:pt x="4996820" y="9525"/>
                </a:lnTo>
                <a:lnTo>
                  <a:pt x="4996820" y="585589"/>
                </a:lnTo>
                <a:lnTo>
                  <a:pt x="827711" y="585589"/>
                </a:lnTo>
                <a:lnTo>
                  <a:pt x="0" y="0"/>
                </a:lnTo>
                <a:close/>
              </a:path>
            </a:pathLst>
          </a:cu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 性能提升</a:t>
            </a:r>
            <a:endParaRPr lang="en-US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13" name="文本框 2"/>
          <p:cNvSpPr txBox="1">
            <a:spLocks noChangeArrowheads="1"/>
          </p:cNvSpPr>
          <p:nvPr/>
        </p:nvSpPr>
        <p:spPr bwMode="auto">
          <a:xfrm>
            <a:off x="251520" y="1700808"/>
            <a:ext cx="8784976" cy="180049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00B0F0"/>
              </a:buClr>
              <a:buSzPct val="90000"/>
              <a:buFont typeface="Wingdings" panose="05000000000000000000" pitchFamily="2" charset="2"/>
              <a:buChar char="n"/>
              <a:defRPr sz="2800">
                <a:solidFill>
                  <a:srgbClr val="003399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B050"/>
              </a:buClr>
              <a:buSzPct val="75000"/>
              <a:buFont typeface="Wingdings" panose="05000000000000000000" pitchFamily="2" charset="2"/>
              <a:buChar char="l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B050"/>
              </a:buClr>
              <a:buSzPct val="75000"/>
              <a:buFont typeface="Wingdings" panose="05000000000000000000" pitchFamily="2" charset="2"/>
              <a:buChar char="•"/>
              <a:defRPr sz="2400">
                <a:solidFill>
                  <a:srgbClr val="003399"/>
                </a:solidFill>
                <a:latin typeface="Arial" panose="020B0604020202020204" pitchFamily="34" charset="0"/>
                <a:ea typeface="黑体" panose="02010609060101010101" pitchFamily="49" charset="-122"/>
                <a:sym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B050"/>
              </a:buClr>
              <a:buSzPct val="75000"/>
              <a:buFont typeface="Wingdings" panose="05000000000000000000" pitchFamily="2" charset="2"/>
              <a:buChar char="–"/>
              <a:defRPr sz="2800">
                <a:solidFill>
                  <a:srgbClr val="003399"/>
                </a:solidFill>
                <a:latin typeface="Arial" panose="020B0604020202020204" pitchFamily="34" charset="0"/>
                <a:ea typeface="黑体" panose="02010609060101010101" pitchFamily="49" charset="-122"/>
                <a:sym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B050"/>
              </a:buClr>
              <a:buSzPct val="75000"/>
              <a:buFont typeface="Wingdings" panose="05000000000000000000" pitchFamily="2" charset="2"/>
              <a:buChar char="»"/>
              <a:defRPr sz="2800">
                <a:solidFill>
                  <a:srgbClr val="003399"/>
                </a:solidFill>
                <a:latin typeface="Arial" panose="020B0604020202020204" pitchFamily="34" charset="0"/>
                <a:ea typeface="黑体" panose="02010609060101010101" pitchFamily="49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B050"/>
              </a:buClr>
              <a:buSzPct val="75000"/>
              <a:buFont typeface="Wingdings" panose="05000000000000000000" pitchFamily="2" charset="2"/>
              <a:buChar char="»"/>
              <a:defRPr sz="2800">
                <a:solidFill>
                  <a:srgbClr val="003399"/>
                </a:solidFill>
                <a:latin typeface="Arial" panose="020B0604020202020204" pitchFamily="34" charset="0"/>
                <a:ea typeface="黑体" panose="02010609060101010101" pitchFamily="49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B050"/>
              </a:buClr>
              <a:buSzPct val="75000"/>
              <a:buFont typeface="Wingdings" panose="05000000000000000000" pitchFamily="2" charset="2"/>
              <a:buChar char="»"/>
              <a:defRPr sz="2800">
                <a:solidFill>
                  <a:srgbClr val="003399"/>
                </a:solidFill>
                <a:latin typeface="Arial" panose="020B0604020202020204" pitchFamily="34" charset="0"/>
                <a:ea typeface="黑体" panose="02010609060101010101" pitchFamily="49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B050"/>
              </a:buClr>
              <a:buSzPct val="75000"/>
              <a:buFont typeface="Wingdings" panose="05000000000000000000" pitchFamily="2" charset="2"/>
              <a:buChar char="»"/>
              <a:defRPr sz="2800">
                <a:solidFill>
                  <a:srgbClr val="003399"/>
                </a:solidFill>
                <a:latin typeface="Arial" panose="020B0604020202020204" pitchFamily="34" charset="0"/>
                <a:ea typeface="黑体" panose="02010609060101010101" pitchFamily="49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B050"/>
              </a:buClr>
              <a:buSzPct val="75000"/>
              <a:buFont typeface="Wingdings" panose="05000000000000000000" pitchFamily="2" charset="2"/>
              <a:buChar char="»"/>
              <a:defRPr sz="2800">
                <a:solidFill>
                  <a:srgbClr val="003399"/>
                </a:solidFill>
                <a:latin typeface="Arial" panose="020B0604020202020204" pitchFamily="34" charset="0"/>
                <a:ea typeface="黑体" panose="02010609060101010101" pitchFamily="49" charset="-122"/>
                <a:sym typeface="Arial" panose="020B0604020202020204" pitchFamily="34" charset="0"/>
              </a:defRPr>
            </a:lvl9pPr>
          </a:lstStyle>
          <a:p>
            <a:pPr marL="174625" indent="-174625" algn="just" eaLnBrk="1" fontAlgn="auto" hangingPunct="1">
              <a:spcBef>
                <a:spcPts val="1200"/>
              </a:spcBef>
              <a:spcAft>
                <a:spcPts val="0"/>
              </a:spcAft>
              <a:buClr>
                <a:srgbClr val="558ED5"/>
              </a:buClr>
              <a:defRPr/>
            </a:pPr>
            <a:r>
              <a:rPr lang="zh-CN" altLang="en-US" sz="2400" dirty="0" smtClean="0">
                <a:solidFill>
                  <a:schemeClr val="tx1"/>
                </a:solidFill>
              </a:rPr>
              <a:t> </a:t>
            </a:r>
            <a:r>
              <a:rPr lang="zh-CN" altLang="en-US" sz="2000" dirty="0" smtClean="0">
                <a:solidFill>
                  <a:schemeClr val="tx1"/>
                </a:solidFill>
              </a:rPr>
              <a:t>完成</a:t>
            </a:r>
            <a:r>
              <a:rPr lang="zh-CN" altLang="en-US" sz="2000" dirty="0">
                <a:solidFill>
                  <a:schemeClr val="tx1"/>
                </a:solidFill>
              </a:rPr>
              <a:t>全部</a:t>
            </a:r>
            <a:r>
              <a:rPr lang="en-US" altLang="zh-CN" sz="2000" dirty="0">
                <a:solidFill>
                  <a:schemeClr val="tx1"/>
                </a:solidFill>
              </a:rPr>
              <a:t>22</a:t>
            </a:r>
            <a:r>
              <a:rPr lang="zh-CN" altLang="en-US" sz="2000" dirty="0">
                <a:solidFill>
                  <a:schemeClr val="tx1"/>
                </a:solidFill>
              </a:rPr>
              <a:t>套数字低电平升级</a:t>
            </a:r>
            <a:r>
              <a:rPr lang="zh-CN" altLang="en-US" sz="2000" dirty="0" smtClean="0">
                <a:solidFill>
                  <a:schemeClr val="tx1"/>
                </a:solidFill>
              </a:rPr>
              <a:t>改造（</a:t>
            </a:r>
            <a:r>
              <a:rPr lang="en-US" altLang="zh-CN" sz="2000" dirty="0" smtClean="0">
                <a:solidFill>
                  <a:schemeClr val="tx1"/>
                </a:solidFill>
              </a:rPr>
              <a:t>2024</a:t>
            </a:r>
            <a:r>
              <a:rPr lang="zh-CN" altLang="en-US" sz="2000" dirty="0" smtClean="0">
                <a:solidFill>
                  <a:schemeClr val="tx1"/>
                </a:solidFill>
              </a:rPr>
              <a:t>年改造</a:t>
            </a:r>
            <a:r>
              <a:rPr lang="en-US" altLang="zh-CN" sz="2000" dirty="0" smtClean="0">
                <a:solidFill>
                  <a:schemeClr val="tx1"/>
                </a:solidFill>
              </a:rPr>
              <a:t>9</a:t>
            </a:r>
            <a:r>
              <a:rPr lang="zh-CN" altLang="en-US" sz="2000" dirty="0" smtClean="0">
                <a:solidFill>
                  <a:schemeClr val="tx1"/>
                </a:solidFill>
              </a:rPr>
              <a:t>套</a:t>
            </a:r>
            <a:r>
              <a:rPr lang="en-US" altLang="zh-CN" sz="2000" dirty="0" smtClean="0">
                <a:solidFill>
                  <a:schemeClr val="tx1"/>
                </a:solidFill>
              </a:rPr>
              <a:t>+</a:t>
            </a:r>
            <a:r>
              <a:rPr lang="zh-CN" altLang="en-US" sz="2000" dirty="0" smtClean="0">
                <a:solidFill>
                  <a:schemeClr val="tx1"/>
                </a:solidFill>
              </a:rPr>
              <a:t>新增</a:t>
            </a:r>
            <a:r>
              <a:rPr lang="en-US" altLang="zh-CN" sz="2000" dirty="0" smtClean="0">
                <a:solidFill>
                  <a:schemeClr val="tx1"/>
                </a:solidFill>
              </a:rPr>
              <a:t>2</a:t>
            </a:r>
            <a:r>
              <a:rPr lang="zh-CN" altLang="en-US" sz="2000" dirty="0" smtClean="0">
                <a:solidFill>
                  <a:schemeClr val="tx1"/>
                </a:solidFill>
              </a:rPr>
              <a:t>套）</a:t>
            </a:r>
            <a:endParaRPr lang="en-US" altLang="zh-CN" sz="2000" dirty="0">
              <a:solidFill>
                <a:schemeClr val="tx1"/>
              </a:solidFill>
            </a:endParaRPr>
          </a:p>
          <a:p>
            <a:pPr marL="800100" lvl="1" indent="-342900" algn="just" eaLnBrk="1" fontAlgn="auto" hangingPunct="1">
              <a:spcBef>
                <a:spcPts val="600"/>
              </a:spcBef>
              <a:spcAft>
                <a:spcPts val="0"/>
              </a:spcAft>
              <a:buClr>
                <a:srgbClr val="558ED5"/>
              </a:buClr>
              <a:buFont typeface="微软雅黑" panose="020B0503020204020204" pitchFamily="34" charset="-122"/>
              <a:buChar char="–"/>
              <a:defRPr/>
            </a:pPr>
            <a:r>
              <a:rPr lang="zh-CN" altLang="en-US" sz="1800" dirty="0"/>
              <a:t>设备安装与调试，线</a:t>
            </a:r>
            <a:r>
              <a:rPr lang="zh-CN" altLang="en-US" sz="1800" dirty="0" smtClean="0"/>
              <a:t>缆</a:t>
            </a:r>
            <a:r>
              <a:rPr lang="zh-CN" altLang="en-US" sz="1800" dirty="0"/>
              <a:t>与</a:t>
            </a:r>
            <a:r>
              <a:rPr lang="zh-CN" altLang="en-US" sz="1800" dirty="0" smtClean="0"/>
              <a:t>器件</a:t>
            </a:r>
            <a:r>
              <a:rPr lang="zh-CN" altLang="en-US" sz="1800" dirty="0"/>
              <a:t>标定，参数调试，控制精度优化</a:t>
            </a:r>
            <a:endParaRPr lang="en-US" altLang="zh-CN" sz="1800" dirty="0"/>
          </a:p>
          <a:p>
            <a:pPr marL="800100" lvl="1" indent="-342900" algn="just" eaLnBrk="1" fontAlgn="auto" hangingPunct="1">
              <a:spcBef>
                <a:spcPts val="600"/>
              </a:spcBef>
              <a:spcAft>
                <a:spcPts val="0"/>
              </a:spcAft>
              <a:buClr>
                <a:srgbClr val="558ED5"/>
              </a:buClr>
              <a:buFont typeface="微软雅黑" panose="020B0503020204020204" pitchFamily="34" charset="-122"/>
              <a:buChar char="–"/>
              <a:defRPr/>
            </a:pPr>
            <a:r>
              <a:rPr lang="zh-CN" altLang="en-US" sz="1800" dirty="0" smtClean="0"/>
              <a:t>新低电平相控稳定</a:t>
            </a:r>
            <a:r>
              <a:rPr lang="zh-CN" altLang="en-US" sz="1800" dirty="0"/>
              <a:t>运行，长时间</a:t>
            </a:r>
            <a:r>
              <a:rPr lang="zh-CN" altLang="en-US" sz="1800" dirty="0" smtClean="0"/>
              <a:t>运行的相位峰</a:t>
            </a:r>
            <a:r>
              <a:rPr lang="zh-CN" altLang="en-US" sz="1800" dirty="0"/>
              <a:t>峰值稳定度达到</a:t>
            </a:r>
            <a:r>
              <a:rPr lang="en-US" altLang="zh-CN" sz="1800" dirty="0"/>
              <a:t>±0.5°</a:t>
            </a:r>
            <a:r>
              <a:rPr lang="zh-CN" altLang="en-US" sz="1800" dirty="0"/>
              <a:t>，</a:t>
            </a:r>
            <a:r>
              <a:rPr lang="en-US" altLang="zh-CN" sz="1800" dirty="0"/>
              <a:t>RMS</a:t>
            </a:r>
            <a:r>
              <a:rPr lang="zh-CN" altLang="en-US" sz="1800" dirty="0"/>
              <a:t>值为</a:t>
            </a:r>
            <a:r>
              <a:rPr lang="en-US" altLang="zh-CN" sz="1800" dirty="0"/>
              <a:t>0.2°</a:t>
            </a:r>
            <a:r>
              <a:rPr lang="zh-CN" altLang="en-US" sz="1800" dirty="0"/>
              <a:t>，与原相控系统峰峰值</a:t>
            </a:r>
            <a:r>
              <a:rPr lang="en-US" altLang="zh-CN" sz="1800" dirty="0"/>
              <a:t>5°</a:t>
            </a:r>
            <a:r>
              <a:rPr lang="zh-CN" altLang="en-US" sz="1800" dirty="0"/>
              <a:t>相比，稳定度提升了</a:t>
            </a:r>
            <a:r>
              <a:rPr lang="en-US" altLang="zh-CN" sz="1800" dirty="0"/>
              <a:t>5</a:t>
            </a:r>
            <a:r>
              <a:rPr lang="zh-CN" altLang="en-US" sz="1800" dirty="0" smtClean="0"/>
              <a:t>倍</a:t>
            </a:r>
            <a:endParaRPr lang="en-US" altLang="zh-CN" sz="1800" dirty="0" smtClean="0"/>
          </a:p>
          <a:p>
            <a:pPr marL="800100" lvl="1" indent="-342900" algn="just" eaLnBrk="1" fontAlgn="auto" hangingPunct="1">
              <a:spcBef>
                <a:spcPts val="600"/>
              </a:spcBef>
              <a:spcAft>
                <a:spcPts val="0"/>
              </a:spcAft>
              <a:buClr>
                <a:srgbClr val="558ED5"/>
              </a:buClr>
              <a:buFont typeface="微软雅黑" panose="020B0503020204020204" pitchFamily="34" charset="-122"/>
              <a:buChar char="–"/>
              <a:defRPr/>
            </a:pPr>
            <a:r>
              <a:rPr lang="zh-CN" altLang="en-US" sz="1800" dirty="0" smtClean="0"/>
              <a:t>幅度</a:t>
            </a:r>
            <a:r>
              <a:rPr lang="zh-CN" altLang="en-US" sz="1800" dirty="0"/>
              <a:t>稳定度达到</a:t>
            </a:r>
            <a:r>
              <a:rPr lang="en-US" altLang="zh-CN" sz="1800" dirty="0"/>
              <a:t>RMS</a:t>
            </a:r>
            <a:r>
              <a:rPr lang="zh-CN" altLang="en-US" sz="1800" dirty="0"/>
              <a:t>值</a:t>
            </a:r>
            <a:r>
              <a:rPr lang="en-US" altLang="zh-CN" sz="1800" dirty="0"/>
              <a:t>1.5‰</a:t>
            </a:r>
            <a:r>
              <a:rPr lang="zh-CN" altLang="en-US" sz="1800" dirty="0"/>
              <a:t>，峰峰值</a:t>
            </a:r>
            <a:r>
              <a:rPr lang="en-US" altLang="zh-CN" sz="1800" dirty="0"/>
              <a:t>1.2</a:t>
            </a:r>
            <a:r>
              <a:rPr lang="zh-CN" altLang="en-US" sz="1800" dirty="0"/>
              <a:t>％</a:t>
            </a:r>
          </a:p>
        </p:txBody>
      </p:sp>
      <p:pic>
        <p:nvPicPr>
          <p:cNvPr id="14" name="图片 13">
            <a:extLst>
              <a:ext uri="{FF2B5EF4-FFF2-40B4-BE49-F238E27FC236}">
                <a16:creationId xmlns="" xmlns:a16="http://schemas.microsoft.com/office/drawing/2014/main" id="{69D946E8-E1CC-4FA3-9BB7-BF9B7A348886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506072" y="3563782"/>
            <a:ext cx="4281951" cy="3001556"/>
          </a:xfrm>
          <a:prstGeom prst="rect">
            <a:avLst/>
          </a:prstGeom>
          <a:ln w="38100">
            <a:solidFill>
              <a:srgbClr val="9900FF"/>
            </a:solidFill>
          </a:ln>
        </p:spPr>
      </p:pic>
      <p:sp>
        <p:nvSpPr>
          <p:cNvPr id="22" name="文本框 21"/>
          <p:cNvSpPr txBox="1"/>
          <p:nvPr/>
        </p:nvSpPr>
        <p:spPr>
          <a:xfrm>
            <a:off x="7739600" y="6453338"/>
            <a:ext cx="9733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 smtClean="0"/>
              <a:t>*</a:t>
            </a:r>
            <a:r>
              <a:rPr lang="zh-CN" altLang="en-US" sz="1400" dirty="0" smtClean="0"/>
              <a:t>甘楠提供</a:t>
            </a:r>
            <a:endParaRPr lang="zh-CN" altLang="en-US" sz="1400" dirty="0"/>
          </a:p>
        </p:txBody>
      </p:sp>
      <p:grpSp>
        <p:nvGrpSpPr>
          <p:cNvPr id="6" name="组合 5"/>
          <p:cNvGrpSpPr/>
          <p:nvPr/>
        </p:nvGrpSpPr>
        <p:grpSpPr>
          <a:xfrm>
            <a:off x="4932038" y="3570794"/>
            <a:ext cx="3888433" cy="1406525"/>
            <a:chOff x="4932038" y="3570794"/>
            <a:chExt cx="3888433" cy="1406525"/>
          </a:xfrm>
        </p:grpSpPr>
        <p:pic>
          <p:nvPicPr>
            <p:cNvPr id="16" name="图片 15">
              <a:extLst>
                <a:ext uri="{FF2B5EF4-FFF2-40B4-BE49-F238E27FC236}">
                  <a16:creationId xmlns="" xmlns:a16="http://schemas.microsoft.com/office/drawing/2014/main" id="{9937AC0B-7D11-4FF8-B8FA-5B7756A776BA}"/>
                </a:ext>
              </a:extLst>
            </p:cNvPr>
            <p:cNvPicPr/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2038" y="3570794"/>
              <a:ext cx="3888433" cy="1406525"/>
            </a:xfrm>
            <a:prstGeom prst="rect">
              <a:avLst/>
            </a:prstGeom>
            <a:noFill/>
            <a:ln w="38100">
              <a:solidFill>
                <a:srgbClr val="9900FF"/>
              </a:solidFill>
            </a:ln>
          </p:spPr>
        </p:pic>
        <p:sp>
          <p:nvSpPr>
            <p:cNvPr id="23" name="Rectangle 22"/>
            <p:cNvSpPr/>
            <p:nvPr>
              <p:custDataLst>
                <p:tags r:id="rId4"/>
              </p:custDataLst>
            </p:nvPr>
          </p:nvSpPr>
          <p:spPr bwMode="auto">
            <a:xfrm>
              <a:off x="6369148" y="3570794"/>
              <a:ext cx="2451323" cy="336414"/>
            </a:xfrm>
            <a:custGeom>
              <a:avLst/>
              <a:gdLst>
                <a:gd name="connsiteX0" fmla="*/ 0 w 1368152"/>
                <a:gd name="connsiteY0" fmla="*/ 0 h 324000"/>
                <a:gd name="connsiteX1" fmla="*/ 1368152 w 1368152"/>
                <a:gd name="connsiteY1" fmla="*/ 0 h 324000"/>
                <a:gd name="connsiteX2" fmla="*/ 1368152 w 1368152"/>
                <a:gd name="connsiteY2" fmla="*/ 324000 h 324000"/>
                <a:gd name="connsiteX3" fmla="*/ 0 w 1368152"/>
                <a:gd name="connsiteY3" fmla="*/ 324000 h 324000"/>
                <a:gd name="connsiteX4" fmla="*/ 0 w 1368152"/>
                <a:gd name="connsiteY4" fmla="*/ 0 h 324000"/>
                <a:gd name="connsiteX0-1" fmla="*/ 0 w 1368152"/>
                <a:gd name="connsiteY0-2" fmla="*/ 0 h 324000"/>
                <a:gd name="connsiteX1-3" fmla="*/ 1368152 w 1368152"/>
                <a:gd name="connsiteY1-4" fmla="*/ 0 h 324000"/>
                <a:gd name="connsiteX2-5" fmla="*/ 1368152 w 1368152"/>
                <a:gd name="connsiteY2-6" fmla="*/ 324000 h 324000"/>
                <a:gd name="connsiteX3-7" fmla="*/ 279400 w 1368152"/>
                <a:gd name="connsiteY3-8" fmla="*/ 324000 h 324000"/>
                <a:gd name="connsiteX4-9" fmla="*/ 0 w 1368152"/>
                <a:gd name="connsiteY4-10" fmla="*/ 0 h 32400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68152" h="324000">
                  <a:moveTo>
                    <a:pt x="0" y="0"/>
                  </a:moveTo>
                  <a:lnTo>
                    <a:pt x="1368152" y="0"/>
                  </a:lnTo>
                  <a:lnTo>
                    <a:pt x="1368152" y="324000"/>
                  </a:lnTo>
                  <a:lnTo>
                    <a:pt x="279400" y="324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00FF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91428" tIns="137172" rIns="91428" bIns="45715" anchor="ctr"/>
            <a:lstStyle/>
            <a:p>
              <a:pPr algn="r" defTabSz="913765">
                <a:lnSpc>
                  <a:spcPct val="90000"/>
                </a:lnSpc>
                <a:spcBef>
                  <a:spcPts val="630"/>
                </a:spcBef>
                <a:buClr>
                  <a:schemeClr val="bg2">
                    <a:lumMod val="75000"/>
                  </a:schemeClr>
                </a:buClr>
                <a:buSzPct val="100000"/>
                <a:defRPr/>
              </a:pPr>
              <a:r>
                <a:rPr lang="en-US" altLang="zh-CN" sz="1200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22</a:t>
              </a:r>
              <a:r>
                <a:rPr lang="zh-CN" altLang="en-US" sz="1200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台低电平相位长期稳定度</a:t>
              </a:r>
              <a:endParaRPr lang="en-US" sz="1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4932037" y="5126803"/>
            <a:ext cx="3888433" cy="1289050"/>
            <a:chOff x="4932037" y="5126803"/>
            <a:chExt cx="3888433" cy="1289050"/>
          </a:xfrm>
        </p:grpSpPr>
        <p:pic>
          <p:nvPicPr>
            <p:cNvPr id="18" name="图片 17">
              <a:extLst>
                <a:ext uri="{FF2B5EF4-FFF2-40B4-BE49-F238E27FC236}">
                  <a16:creationId xmlns="" xmlns:a16="http://schemas.microsoft.com/office/drawing/2014/main" id="{A499B903-BE49-4A8A-BB0C-9515E0CCB5A0}"/>
                </a:ext>
              </a:extLst>
            </p:cNvPr>
            <p:cNvPicPr/>
            <p:nvPr/>
          </p:nvPicPr>
          <p:blipFill rotWithShape="1">
            <a:blip r:embed="rId9"/>
            <a:srcRect l="172" t="852" b="706"/>
            <a:stretch/>
          </p:blipFill>
          <p:spPr bwMode="auto">
            <a:xfrm>
              <a:off x="4932037" y="5126803"/>
              <a:ext cx="3888433" cy="1289050"/>
            </a:xfrm>
            <a:prstGeom prst="rect">
              <a:avLst/>
            </a:prstGeom>
            <a:ln w="38100">
              <a:solidFill>
                <a:srgbClr val="9900FF"/>
              </a:solidFill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24" name="Rectangle 22"/>
            <p:cNvSpPr/>
            <p:nvPr>
              <p:custDataLst>
                <p:tags r:id="rId3"/>
              </p:custDataLst>
            </p:nvPr>
          </p:nvSpPr>
          <p:spPr bwMode="auto">
            <a:xfrm>
              <a:off x="7524328" y="5126803"/>
              <a:ext cx="1291024" cy="246413"/>
            </a:xfrm>
            <a:custGeom>
              <a:avLst/>
              <a:gdLst>
                <a:gd name="connsiteX0" fmla="*/ 0 w 1368152"/>
                <a:gd name="connsiteY0" fmla="*/ 0 h 324000"/>
                <a:gd name="connsiteX1" fmla="*/ 1368152 w 1368152"/>
                <a:gd name="connsiteY1" fmla="*/ 0 h 324000"/>
                <a:gd name="connsiteX2" fmla="*/ 1368152 w 1368152"/>
                <a:gd name="connsiteY2" fmla="*/ 324000 h 324000"/>
                <a:gd name="connsiteX3" fmla="*/ 0 w 1368152"/>
                <a:gd name="connsiteY3" fmla="*/ 324000 h 324000"/>
                <a:gd name="connsiteX4" fmla="*/ 0 w 1368152"/>
                <a:gd name="connsiteY4" fmla="*/ 0 h 324000"/>
                <a:gd name="connsiteX0-1" fmla="*/ 0 w 1368152"/>
                <a:gd name="connsiteY0-2" fmla="*/ 0 h 324000"/>
                <a:gd name="connsiteX1-3" fmla="*/ 1368152 w 1368152"/>
                <a:gd name="connsiteY1-4" fmla="*/ 0 h 324000"/>
                <a:gd name="connsiteX2-5" fmla="*/ 1368152 w 1368152"/>
                <a:gd name="connsiteY2-6" fmla="*/ 324000 h 324000"/>
                <a:gd name="connsiteX3-7" fmla="*/ 279400 w 1368152"/>
                <a:gd name="connsiteY3-8" fmla="*/ 324000 h 324000"/>
                <a:gd name="connsiteX4-9" fmla="*/ 0 w 1368152"/>
                <a:gd name="connsiteY4-10" fmla="*/ 0 h 32400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68152" h="324000">
                  <a:moveTo>
                    <a:pt x="0" y="0"/>
                  </a:moveTo>
                  <a:lnTo>
                    <a:pt x="1368152" y="0"/>
                  </a:lnTo>
                  <a:lnTo>
                    <a:pt x="1368152" y="324000"/>
                  </a:lnTo>
                  <a:lnTo>
                    <a:pt x="279400" y="324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00FF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91428" tIns="137172" rIns="91428" bIns="45715" anchor="ctr"/>
            <a:lstStyle/>
            <a:p>
              <a:pPr algn="r" defTabSz="913765">
                <a:lnSpc>
                  <a:spcPct val="90000"/>
                </a:lnSpc>
                <a:spcBef>
                  <a:spcPts val="630"/>
                </a:spcBef>
                <a:buClr>
                  <a:schemeClr val="bg2">
                    <a:lumMod val="75000"/>
                  </a:schemeClr>
                </a:buClr>
                <a:buSzPct val="100000"/>
                <a:defRPr/>
              </a:pPr>
              <a:r>
                <a:rPr lang="en-US" altLang="zh-CN" sz="1200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K1</a:t>
              </a:r>
              <a:r>
                <a:rPr lang="zh-CN" altLang="en-US" sz="1200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幅度稳定度</a:t>
              </a:r>
              <a:endParaRPr lang="en-US" sz="1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2799"/>
    </mc:Choice>
    <mc:Fallback xmlns="">
      <p:transition spd="slow" advTm="42799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22"/>
          <p:cNvSpPr/>
          <p:nvPr>
            <p:custDataLst>
              <p:tags r:id="rId2"/>
            </p:custDataLst>
          </p:nvPr>
        </p:nvSpPr>
        <p:spPr bwMode="auto">
          <a:xfrm>
            <a:off x="2627784" y="1060743"/>
            <a:ext cx="3312368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E7B921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ctr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endParaRPr lang="en-US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次谐波系统</a:t>
            </a:r>
          </a:p>
        </p:txBody>
      </p:sp>
      <p:sp>
        <p:nvSpPr>
          <p:cNvPr id="4" name="Rectangle 22"/>
          <p:cNvSpPr/>
          <p:nvPr>
            <p:custDataLst>
              <p:tags r:id="rId3"/>
            </p:custDataLst>
          </p:nvPr>
        </p:nvSpPr>
        <p:spPr bwMode="auto">
          <a:xfrm>
            <a:off x="0" y="1062262"/>
            <a:ext cx="5436096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E7B921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 </a:t>
            </a:r>
            <a:r>
              <a:rPr lang="en-US" altLang="zh-CN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SHB</a:t>
            </a: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及其固态放大器</a:t>
            </a:r>
            <a:endParaRPr lang="en-US" altLang="zh-CN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6" name="Rectangle 22"/>
          <p:cNvSpPr/>
          <p:nvPr>
            <p:custDataLst>
              <p:tags r:id="rId4"/>
            </p:custDataLst>
          </p:nvPr>
        </p:nvSpPr>
        <p:spPr bwMode="auto">
          <a:xfrm>
            <a:off x="5652120" y="1052738"/>
            <a:ext cx="3491880" cy="585589"/>
          </a:xfrm>
          <a:custGeom>
            <a:avLst/>
            <a:gdLst>
              <a:gd name="connsiteX0" fmla="*/ 0 w 4206255"/>
              <a:gd name="connsiteY0" fmla="*/ 0 h 576064"/>
              <a:gd name="connsiteX1" fmla="*/ 4206255 w 4206255"/>
              <a:gd name="connsiteY1" fmla="*/ 0 h 576064"/>
              <a:gd name="connsiteX2" fmla="*/ 4206255 w 4206255"/>
              <a:gd name="connsiteY2" fmla="*/ 576064 h 576064"/>
              <a:gd name="connsiteX3" fmla="*/ 0 w 4206255"/>
              <a:gd name="connsiteY3" fmla="*/ 576064 h 576064"/>
              <a:gd name="connsiteX4" fmla="*/ 0 w 4206255"/>
              <a:gd name="connsiteY4" fmla="*/ 0 h 576064"/>
              <a:gd name="connsiteX0-1" fmla="*/ 0 w 4749180"/>
              <a:gd name="connsiteY0-2" fmla="*/ 0 h 585589"/>
              <a:gd name="connsiteX1-3" fmla="*/ 4749180 w 4749180"/>
              <a:gd name="connsiteY1-4" fmla="*/ 9525 h 585589"/>
              <a:gd name="connsiteX2-5" fmla="*/ 4749180 w 4749180"/>
              <a:gd name="connsiteY2-6" fmla="*/ 585589 h 585589"/>
              <a:gd name="connsiteX3-7" fmla="*/ 542925 w 4749180"/>
              <a:gd name="connsiteY3-8" fmla="*/ 585589 h 585589"/>
              <a:gd name="connsiteX4-9" fmla="*/ 0 w 4749180"/>
              <a:gd name="connsiteY4-10" fmla="*/ 0 h 58558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749180" h="585589">
                <a:moveTo>
                  <a:pt x="0" y="0"/>
                </a:moveTo>
                <a:lnTo>
                  <a:pt x="4749180" y="9525"/>
                </a:lnTo>
                <a:lnTo>
                  <a:pt x="4749180" y="585589"/>
                </a:lnTo>
                <a:lnTo>
                  <a:pt x="542925" y="585589"/>
                </a:lnTo>
                <a:lnTo>
                  <a:pt x="0" y="0"/>
                </a:lnTo>
                <a:close/>
              </a:path>
            </a:pathLst>
          </a:custGeom>
          <a:solidFill>
            <a:srgbClr val="94C949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      运行维护</a:t>
            </a:r>
            <a:endParaRPr lang="en-US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12" name="矩形 11"/>
          <p:cNvSpPr>
            <a:spLocks noChangeArrowheads="1"/>
          </p:cNvSpPr>
          <p:nvPr/>
        </p:nvSpPr>
        <p:spPr bwMode="auto">
          <a:xfrm>
            <a:off x="395536" y="1776416"/>
            <a:ext cx="8208912" cy="572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Blip>
                <a:blip r:embed="rId7"/>
              </a:buBlip>
              <a:defRPr sz="28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▒"/>
              <a:defRPr kumimoji="1" sz="2400">
                <a:solidFill>
                  <a:srgbClr val="0000FF"/>
                </a:solidFill>
                <a:latin typeface="Arial Narrow" panose="020B0606020202030204" pitchFamily="34" charset="0"/>
                <a:ea typeface="华文楷体" panose="02010600040101010101" pitchFamily="2" charset="-122"/>
                <a:cs typeface="华文楷体" panose="02010600040101010101" pitchFamily="2" charset="-122"/>
              </a:defRPr>
            </a:lvl2pPr>
            <a:lvl3pPr marL="1143000" indent="-228600">
              <a:spcBef>
                <a:spcPct val="20000"/>
              </a:spcBef>
              <a:buBlip>
                <a:blip r:embed="rId8"/>
              </a:buBlip>
              <a:defRPr kumimoji="1" sz="2000">
                <a:solidFill>
                  <a:srgbClr val="E46C0A"/>
                </a:solidFill>
                <a:latin typeface="Arial Narrow" panose="020B0606020202030204" pitchFamily="34" charset="0"/>
                <a:ea typeface="华文仿宋" panose="02010600040101010101" pitchFamily="2" charset="-122"/>
                <a:cs typeface="华文仿宋" panose="0201060004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9pPr>
          </a:lstStyle>
          <a:p>
            <a:pPr marL="342900" indent="-342900" algn="just">
              <a:lnSpc>
                <a:spcPct val="130000"/>
              </a:lnSpc>
              <a:spcBef>
                <a:spcPct val="0"/>
              </a:spcBef>
              <a:buFont typeface="Wingdings" panose="05000000000000000000" pitchFamily="2" charset="2"/>
              <a:buChar char="n"/>
            </a:pPr>
            <a:r>
              <a:rPr lang="zh-CN" altLang="en-US" sz="2400" b="0" dirty="0" smtClean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轮运行稳定，无故障</a:t>
            </a:r>
            <a:endParaRPr lang="en-US" altLang="zh-CN" sz="18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780"/>
    </mc:Choice>
    <mc:Fallback xmlns="">
      <p:transition spd="slow" advTm="16780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主要内容</a:t>
            </a:r>
          </a:p>
        </p:txBody>
      </p:sp>
      <p:sp>
        <p:nvSpPr>
          <p:cNvPr id="5" name="矩形 4"/>
          <p:cNvSpPr>
            <a:spLocks noChangeAspect="1"/>
          </p:cNvSpPr>
          <p:nvPr/>
        </p:nvSpPr>
        <p:spPr>
          <a:xfrm>
            <a:off x="3059832" y="1412776"/>
            <a:ext cx="4032448" cy="936104"/>
          </a:xfrm>
          <a:prstGeom prst="rect">
            <a:avLst/>
          </a:prstGeom>
          <a:solidFill>
            <a:srgbClr val="558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400" b="1" spc="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运行总揽</a:t>
            </a:r>
          </a:p>
        </p:txBody>
      </p:sp>
      <p:sp>
        <p:nvSpPr>
          <p:cNvPr id="7" name="矩形 6"/>
          <p:cNvSpPr>
            <a:spLocks noChangeAspect="1"/>
          </p:cNvSpPr>
          <p:nvPr/>
        </p:nvSpPr>
        <p:spPr>
          <a:xfrm>
            <a:off x="3059832" y="2636912"/>
            <a:ext cx="4032448" cy="936104"/>
          </a:xfrm>
          <a:prstGeom prst="rect">
            <a:avLst/>
          </a:prstGeom>
          <a:solidFill>
            <a:srgbClr val="558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400" b="1" spc="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项介绍</a:t>
            </a:r>
          </a:p>
        </p:txBody>
      </p:sp>
      <p:sp>
        <p:nvSpPr>
          <p:cNvPr id="9" name="矩形 8"/>
          <p:cNvSpPr>
            <a:spLocks noChangeAspect="1"/>
          </p:cNvSpPr>
          <p:nvPr/>
        </p:nvSpPr>
        <p:spPr>
          <a:xfrm>
            <a:off x="3059832" y="3861048"/>
            <a:ext cx="4032448" cy="93610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400" b="1" spc="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暑期检修</a:t>
            </a:r>
          </a:p>
        </p:txBody>
      </p:sp>
      <p:sp>
        <p:nvSpPr>
          <p:cNvPr id="11" name="矩形 10"/>
          <p:cNvSpPr>
            <a:spLocks noChangeAspect="1"/>
          </p:cNvSpPr>
          <p:nvPr/>
        </p:nvSpPr>
        <p:spPr>
          <a:xfrm>
            <a:off x="3059832" y="5085184"/>
            <a:ext cx="4032448" cy="936104"/>
          </a:xfrm>
          <a:prstGeom prst="rect">
            <a:avLst/>
          </a:prstGeom>
          <a:solidFill>
            <a:srgbClr val="558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400" b="1" spc="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轮展望</a:t>
            </a:r>
          </a:p>
        </p:txBody>
      </p:sp>
      <p:grpSp>
        <p:nvGrpSpPr>
          <p:cNvPr id="13" name="组合 12"/>
          <p:cNvGrpSpPr>
            <a:grpSpLocks noChangeAspect="1"/>
          </p:cNvGrpSpPr>
          <p:nvPr/>
        </p:nvGrpSpPr>
        <p:grpSpPr>
          <a:xfrm>
            <a:off x="1763690" y="879749"/>
            <a:ext cx="1317747" cy="2215991"/>
            <a:chOff x="332656" y="1525057"/>
            <a:chExt cx="1561667" cy="2721231"/>
          </a:xfrm>
          <a:solidFill>
            <a:srgbClr val="558ED5"/>
          </a:solidFill>
        </p:grpSpPr>
        <p:sp>
          <p:nvSpPr>
            <p:cNvPr id="14" name="矩形 13"/>
            <p:cNvSpPr>
              <a:spLocks noChangeAspect="1"/>
            </p:cNvSpPr>
            <p:nvPr/>
          </p:nvSpPr>
          <p:spPr>
            <a:xfrm>
              <a:off x="332656" y="2179762"/>
              <a:ext cx="1186906" cy="1152127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矩形 14"/>
            <p:cNvSpPr/>
            <p:nvPr/>
          </p:nvSpPr>
          <p:spPr>
            <a:xfrm>
              <a:off x="509043" y="1525057"/>
              <a:ext cx="1385280" cy="272123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13800" dirty="0">
                  <a:ln w="18415" cmpd="sng">
                    <a:solidFill>
                      <a:schemeClr val="bg1"/>
                    </a:solidFill>
                    <a:prstDash val="solid"/>
                  </a:ln>
                  <a:solidFill>
                    <a:schemeClr val="bg1"/>
                  </a:solidFill>
                  <a:latin typeface="Segoe WP" pitchFamily="34" charset="0"/>
                </a:rPr>
                <a:t>1</a:t>
              </a:r>
              <a:endParaRPr lang="zh-CN" altLang="en-US" sz="13800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Segoe WP" pitchFamily="34" charset="0"/>
              </a:endParaRPr>
            </a:p>
          </p:txBody>
        </p:sp>
      </p:grpSp>
      <p:grpSp>
        <p:nvGrpSpPr>
          <p:cNvPr id="16" name="组合 15"/>
          <p:cNvGrpSpPr>
            <a:grpSpLocks noChangeAspect="1"/>
          </p:cNvGrpSpPr>
          <p:nvPr/>
        </p:nvGrpSpPr>
        <p:grpSpPr>
          <a:xfrm>
            <a:off x="1763690" y="2229248"/>
            <a:ext cx="1165301" cy="1862048"/>
            <a:chOff x="332656" y="3511980"/>
            <a:chExt cx="1381004" cy="2286591"/>
          </a:xfrm>
        </p:grpSpPr>
        <p:sp>
          <p:nvSpPr>
            <p:cNvPr id="17" name="矩形 16"/>
            <p:cNvSpPr/>
            <p:nvPr/>
          </p:nvSpPr>
          <p:spPr>
            <a:xfrm>
              <a:off x="332656" y="4044380"/>
              <a:ext cx="1152128" cy="1152128"/>
            </a:xfrm>
            <a:prstGeom prst="rect">
              <a:avLst/>
            </a:prstGeom>
            <a:solidFill>
              <a:srgbClr val="558ED5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矩形 17"/>
            <p:cNvSpPr/>
            <p:nvPr/>
          </p:nvSpPr>
          <p:spPr>
            <a:xfrm>
              <a:off x="522152" y="3511980"/>
              <a:ext cx="1191508" cy="228659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11500" dirty="0">
                  <a:ln w="18415" cmpd="sng">
                    <a:solidFill>
                      <a:schemeClr val="bg1"/>
                    </a:solidFill>
                    <a:prstDash val="solid"/>
                  </a:ln>
                  <a:solidFill>
                    <a:schemeClr val="bg1"/>
                  </a:solidFill>
                  <a:latin typeface="Segoe WP" pitchFamily="34" charset="0"/>
                </a:rPr>
                <a:t>2</a:t>
              </a:r>
              <a:endParaRPr lang="zh-CN" altLang="en-US" sz="16600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Segoe WP" pitchFamily="34" charset="0"/>
              </a:endParaRPr>
            </a:p>
          </p:txBody>
        </p:sp>
      </p:grpSp>
      <p:grpSp>
        <p:nvGrpSpPr>
          <p:cNvPr id="19" name="组合 18"/>
          <p:cNvGrpSpPr>
            <a:grpSpLocks noChangeAspect="1"/>
          </p:cNvGrpSpPr>
          <p:nvPr/>
        </p:nvGrpSpPr>
        <p:grpSpPr>
          <a:xfrm>
            <a:off x="1763691" y="3409951"/>
            <a:ext cx="1165301" cy="1862048"/>
            <a:chOff x="310563" y="5596086"/>
            <a:chExt cx="1381004" cy="2286591"/>
          </a:xfrm>
        </p:grpSpPr>
        <p:sp>
          <p:nvSpPr>
            <p:cNvPr id="20" name="矩形 19"/>
            <p:cNvSpPr/>
            <p:nvPr/>
          </p:nvSpPr>
          <p:spPr>
            <a:xfrm>
              <a:off x="310563" y="6156176"/>
              <a:ext cx="1152128" cy="1152128"/>
            </a:xfrm>
            <a:prstGeom prst="rect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矩形 20"/>
            <p:cNvSpPr/>
            <p:nvPr/>
          </p:nvSpPr>
          <p:spPr>
            <a:xfrm>
              <a:off x="500059" y="5596086"/>
              <a:ext cx="1191508" cy="228659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11500" dirty="0">
                  <a:ln w="18415" cmpd="sng">
                    <a:solidFill>
                      <a:schemeClr val="bg1"/>
                    </a:solidFill>
                    <a:prstDash val="solid"/>
                  </a:ln>
                  <a:solidFill>
                    <a:schemeClr val="bg1"/>
                  </a:solidFill>
                  <a:latin typeface="Segoe WP" pitchFamily="34" charset="0"/>
                </a:rPr>
                <a:t>3</a:t>
              </a:r>
              <a:endParaRPr lang="zh-CN" altLang="en-US" sz="11500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Segoe WP" pitchFamily="34" charset="0"/>
              </a:endParaRPr>
            </a:p>
          </p:txBody>
        </p:sp>
      </p:grpSp>
      <p:grpSp>
        <p:nvGrpSpPr>
          <p:cNvPr id="22" name="组合 21"/>
          <p:cNvGrpSpPr>
            <a:grpSpLocks noChangeAspect="1"/>
          </p:cNvGrpSpPr>
          <p:nvPr/>
        </p:nvGrpSpPr>
        <p:grpSpPr>
          <a:xfrm>
            <a:off x="1763689" y="4629389"/>
            <a:ext cx="1165302" cy="1862048"/>
            <a:chOff x="249793" y="7612310"/>
            <a:chExt cx="1381005" cy="2286592"/>
          </a:xfrm>
        </p:grpSpPr>
        <p:sp>
          <p:nvSpPr>
            <p:cNvPr id="23" name="矩形 22"/>
            <p:cNvSpPr/>
            <p:nvPr/>
          </p:nvSpPr>
          <p:spPr>
            <a:xfrm>
              <a:off x="249793" y="8172400"/>
              <a:ext cx="1152128" cy="1152128"/>
            </a:xfrm>
            <a:prstGeom prst="rect">
              <a:avLst/>
            </a:prstGeom>
            <a:solidFill>
              <a:srgbClr val="558ED5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4" name="矩形 23"/>
            <p:cNvSpPr/>
            <p:nvPr/>
          </p:nvSpPr>
          <p:spPr>
            <a:xfrm>
              <a:off x="439290" y="7612310"/>
              <a:ext cx="1191508" cy="2286592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11500" dirty="0">
                  <a:ln w="18415" cmpd="sng">
                    <a:solidFill>
                      <a:schemeClr val="bg1"/>
                    </a:solidFill>
                    <a:prstDash val="solid"/>
                  </a:ln>
                  <a:solidFill>
                    <a:schemeClr val="bg1"/>
                  </a:solidFill>
                  <a:latin typeface="Segoe WP" pitchFamily="34" charset="0"/>
                </a:rPr>
                <a:t>4</a:t>
              </a:r>
              <a:endParaRPr lang="zh-CN" altLang="en-US" sz="11500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Segoe WP" pitchFamily="34" charset="0"/>
              </a:endParaRPr>
            </a:p>
          </p:txBody>
        </p:sp>
      </p:grpSp>
      <p:pic>
        <p:nvPicPr>
          <p:cNvPr id="27" name="图片 2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4838" y="6025636"/>
            <a:ext cx="1143000" cy="276225"/>
          </a:xfrm>
          <a:prstGeom prst="rect">
            <a:avLst/>
          </a:prstGeom>
        </p:spPr>
      </p:pic>
      <p:pic>
        <p:nvPicPr>
          <p:cNvPr id="28" name="图片 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0783" y="4812127"/>
            <a:ext cx="1209675" cy="2857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034"/>
    </mc:Choice>
    <mc:Fallback xmlns="">
      <p:transition spd="slow" advTm="11034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主要内容</a:t>
            </a:r>
          </a:p>
        </p:txBody>
      </p:sp>
      <p:sp>
        <p:nvSpPr>
          <p:cNvPr id="5" name="矩形 4"/>
          <p:cNvSpPr>
            <a:spLocks noChangeAspect="1"/>
          </p:cNvSpPr>
          <p:nvPr/>
        </p:nvSpPr>
        <p:spPr>
          <a:xfrm>
            <a:off x="3059832" y="1412776"/>
            <a:ext cx="4032448" cy="93610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400" b="1" spc="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运行总览</a:t>
            </a:r>
          </a:p>
        </p:txBody>
      </p:sp>
      <p:sp>
        <p:nvSpPr>
          <p:cNvPr id="7" name="矩形 6"/>
          <p:cNvSpPr>
            <a:spLocks noChangeAspect="1"/>
          </p:cNvSpPr>
          <p:nvPr/>
        </p:nvSpPr>
        <p:spPr>
          <a:xfrm>
            <a:off x="3059832" y="2636912"/>
            <a:ext cx="4032448" cy="936104"/>
          </a:xfrm>
          <a:prstGeom prst="rect">
            <a:avLst/>
          </a:prstGeom>
          <a:solidFill>
            <a:srgbClr val="558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400" b="1" spc="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项介绍</a:t>
            </a:r>
          </a:p>
        </p:txBody>
      </p:sp>
      <p:sp>
        <p:nvSpPr>
          <p:cNvPr id="9" name="矩形 8"/>
          <p:cNvSpPr>
            <a:spLocks noChangeAspect="1"/>
          </p:cNvSpPr>
          <p:nvPr/>
        </p:nvSpPr>
        <p:spPr>
          <a:xfrm>
            <a:off x="3059832" y="3861048"/>
            <a:ext cx="4032448" cy="936104"/>
          </a:xfrm>
          <a:prstGeom prst="rect">
            <a:avLst/>
          </a:prstGeom>
          <a:solidFill>
            <a:srgbClr val="558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400" b="1" spc="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暑期检修</a:t>
            </a:r>
          </a:p>
        </p:txBody>
      </p:sp>
      <p:sp>
        <p:nvSpPr>
          <p:cNvPr id="11" name="矩形 10"/>
          <p:cNvSpPr>
            <a:spLocks noChangeAspect="1"/>
          </p:cNvSpPr>
          <p:nvPr/>
        </p:nvSpPr>
        <p:spPr>
          <a:xfrm>
            <a:off x="3059832" y="5085184"/>
            <a:ext cx="4032448" cy="936104"/>
          </a:xfrm>
          <a:prstGeom prst="rect">
            <a:avLst/>
          </a:prstGeom>
          <a:solidFill>
            <a:srgbClr val="558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400" b="1" spc="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轮展望</a:t>
            </a:r>
          </a:p>
        </p:txBody>
      </p:sp>
      <p:grpSp>
        <p:nvGrpSpPr>
          <p:cNvPr id="13" name="组合 12"/>
          <p:cNvGrpSpPr>
            <a:grpSpLocks noChangeAspect="1"/>
          </p:cNvGrpSpPr>
          <p:nvPr/>
        </p:nvGrpSpPr>
        <p:grpSpPr>
          <a:xfrm>
            <a:off x="1763688" y="1077647"/>
            <a:ext cx="1098086" cy="1631216"/>
            <a:chOff x="332654" y="1768076"/>
            <a:chExt cx="1301346" cy="2003129"/>
          </a:xfrm>
          <a:solidFill>
            <a:srgbClr val="558ED5"/>
          </a:solidFill>
        </p:grpSpPr>
        <p:sp>
          <p:nvSpPr>
            <p:cNvPr id="14" name="矩形 13"/>
            <p:cNvSpPr>
              <a:spLocks noChangeAspect="1"/>
            </p:cNvSpPr>
            <p:nvPr/>
          </p:nvSpPr>
          <p:spPr>
            <a:xfrm>
              <a:off x="332654" y="2179614"/>
              <a:ext cx="1186906" cy="1152127"/>
            </a:xfrm>
            <a:prstGeom prst="rect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矩形 14"/>
            <p:cNvSpPr/>
            <p:nvPr/>
          </p:nvSpPr>
          <p:spPr>
            <a:xfrm>
              <a:off x="569775" y="1768076"/>
              <a:ext cx="1064225" cy="2003129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10000" dirty="0">
                  <a:ln w="18415" cmpd="sng">
                    <a:solidFill>
                      <a:schemeClr val="bg1"/>
                    </a:solidFill>
                    <a:prstDash val="solid"/>
                  </a:ln>
                  <a:solidFill>
                    <a:schemeClr val="bg1"/>
                  </a:solidFill>
                  <a:latin typeface="Segoe WP" pitchFamily="34" charset="0"/>
                </a:rPr>
                <a:t>1</a:t>
              </a:r>
              <a:endParaRPr lang="zh-CN" altLang="en-US" sz="10000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Segoe WP" pitchFamily="34" charset="0"/>
              </a:endParaRPr>
            </a:p>
          </p:txBody>
        </p:sp>
      </p:grpSp>
      <p:grpSp>
        <p:nvGrpSpPr>
          <p:cNvPr id="16" name="组合 15"/>
          <p:cNvGrpSpPr>
            <a:grpSpLocks noChangeAspect="1"/>
          </p:cNvGrpSpPr>
          <p:nvPr/>
        </p:nvGrpSpPr>
        <p:grpSpPr>
          <a:xfrm>
            <a:off x="1763690" y="2229248"/>
            <a:ext cx="1165301" cy="1862048"/>
            <a:chOff x="332656" y="3511980"/>
            <a:chExt cx="1381004" cy="2286591"/>
          </a:xfrm>
        </p:grpSpPr>
        <p:sp>
          <p:nvSpPr>
            <p:cNvPr id="17" name="矩形 16"/>
            <p:cNvSpPr/>
            <p:nvPr/>
          </p:nvSpPr>
          <p:spPr>
            <a:xfrm>
              <a:off x="332656" y="4044380"/>
              <a:ext cx="1152128" cy="1152128"/>
            </a:xfrm>
            <a:prstGeom prst="rect">
              <a:avLst/>
            </a:prstGeom>
            <a:solidFill>
              <a:srgbClr val="558ED5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矩形 17"/>
            <p:cNvSpPr/>
            <p:nvPr/>
          </p:nvSpPr>
          <p:spPr>
            <a:xfrm>
              <a:off x="522152" y="3511980"/>
              <a:ext cx="1191508" cy="228659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11500" dirty="0">
                  <a:ln w="18415" cmpd="sng">
                    <a:solidFill>
                      <a:schemeClr val="bg1"/>
                    </a:solidFill>
                    <a:prstDash val="solid"/>
                  </a:ln>
                  <a:solidFill>
                    <a:schemeClr val="bg1"/>
                  </a:solidFill>
                  <a:latin typeface="Segoe WP" pitchFamily="34" charset="0"/>
                </a:rPr>
                <a:t>2</a:t>
              </a:r>
              <a:endParaRPr lang="zh-CN" altLang="en-US" sz="16600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Segoe WP" pitchFamily="34" charset="0"/>
              </a:endParaRPr>
            </a:p>
          </p:txBody>
        </p:sp>
      </p:grpSp>
      <p:grpSp>
        <p:nvGrpSpPr>
          <p:cNvPr id="19" name="组合 18"/>
          <p:cNvGrpSpPr>
            <a:grpSpLocks noChangeAspect="1"/>
          </p:cNvGrpSpPr>
          <p:nvPr/>
        </p:nvGrpSpPr>
        <p:grpSpPr>
          <a:xfrm>
            <a:off x="1763691" y="3409951"/>
            <a:ext cx="1165301" cy="1862048"/>
            <a:chOff x="310563" y="5596086"/>
            <a:chExt cx="1381004" cy="2286591"/>
          </a:xfrm>
        </p:grpSpPr>
        <p:sp>
          <p:nvSpPr>
            <p:cNvPr id="20" name="矩形 19"/>
            <p:cNvSpPr/>
            <p:nvPr/>
          </p:nvSpPr>
          <p:spPr>
            <a:xfrm>
              <a:off x="310563" y="6156176"/>
              <a:ext cx="1152128" cy="1152128"/>
            </a:xfrm>
            <a:prstGeom prst="rect">
              <a:avLst/>
            </a:prstGeom>
            <a:solidFill>
              <a:srgbClr val="558ED5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矩形 20"/>
            <p:cNvSpPr/>
            <p:nvPr/>
          </p:nvSpPr>
          <p:spPr>
            <a:xfrm>
              <a:off x="500059" y="5596086"/>
              <a:ext cx="1191508" cy="228659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11500" dirty="0">
                  <a:ln w="18415" cmpd="sng">
                    <a:solidFill>
                      <a:schemeClr val="bg1"/>
                    </a:solidFill>
                    <a:prstDash val="solid"/>
                  </a:ln>
                  <a:solidFill>
                    <a:schemeClr val="bg1"/>
                  </a:solidFill>
                  <a:latin typeface="Segoe WP" pitchFamily="34" charset="0"/>
                </a:rPr>
                <a:t>3</a:t>
              </a:r>
              <a:endParaRPr lang="zh-CN" altLang="en-US" sz="11500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Segoe WP" pitchFamily="34" charset="0"/>
              </a:endParaRPr>
            </a:p>
          </p:txBody>
        </p:sp>
      </p:grpSp>
      <p:grpSp>
        <p:nvGrpSpPr>
          <p:cNvPr id="22" name="组合 21"/>
          <p:cNvGrpSpPr>
            <a:grpSpLocks noChangeAspect="1"/>
          </p:cNvGrpSpPr>
          <p:nvPr/>
        </p:nvGrpSpPr>
        <p:grpSpPr>
          <a:xfrm>
            <a:off x="1763689" y="4629389"/>
            <a:ext cx="1165302" cy="1862048"/>
            <a:chOff x="249793" y="7612310"/>
            <a:chExt cx="1381005" cy="2286592"/>
          </a:xfrm>
        </p:grpSpPr>
        <p:sp>
          <p:nvSpPr>
            <p:cNvPr id="23" name="矩形 22"/>
            <p:cNvSpPr/>
            <p:nvPr/>
          </p:nvSpPr>
          <p:spPr>
            <a:xfrm>
              <a:off x="249793" y="8172400"/>
              <a:ext cx="1152128" cy="1152128"/>
            </a:xfrm>
            <a:prstGeom prst="rect">
              <a:avLst/>
            </a:prstGeom>
            <a:solidFill>
              <a:srgbClr val="558ED5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4" name="矩形 23"/>
            <p:cNvSpPr/>
            <p:nvPr/>
          </p:nvSpPr>
          <p:spPr>
            <a:xfrm>
              <a:off x="439290" y="7612310"/>
              <a:ext cx="1191508" cy="2286592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11500" dirty="0">
                  <a:ln w="18415" cmpd="sng">
                    <a:solidFill>
                      <a:schemeClr val="bg1"/>
                    </a:solidFill>
                    <a:prstDash val="solid"/>
                  </a:ln>
                  <a:solidFill>
                    <a:schemeClr val="bg1"/>
                  </a:solidFill>
                  <a:latin typeface="Segoe WP" pitchFamily="34" charset="0"/>
                </a:rPr>
                <a:t>4</a:t>
              </a:r>
              <a:endParaRPr lang="zh-CN" altLang="en-US" sz="11500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Segoe WP" pitchFamily="34" charset="0"/>
              </a:endParaRPr>
            </a:p>
          </p:txBody>
        </p:sp>
      </p:grpSp>
      <p:pic>
        <p:nvPicPr>
          <p:cNvPr id="27" name="图片 2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4838" y="6025636"/>
            <a:ext cx="1143000" cy="276225"/>
          </a:xfrm>
          <a:prstGeom prst="rect">
            <a:avLst/>
          </a:prstGeom>
        </p:spPr>
      </p:pic>
      <p:pic>
        <p:nvPicPr>
          <p:cNvPr id="28" name="图片 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0783" y="4812127"/>
            <a:ext cx="1209675" cy="2857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034"/>
    </mc:Choice>
    <mc:Fallback xmlns="">
      <p:transition spd="slow" advTm="11034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暑期检修</a:t>
            </a:r>
          </a:p>
          <a:p>
            <a:endParaRPr lang="zh-CN" altLang="en-US" dirty="0"/>
          </a:p>
        </p:txBody>
      </p:sp>
      <p:sp>
        <p:nvSpPr>
          <p:cNvPr id="4" name="Rectangle 22"/>
          <p:cNvSpPr/>
          <p:nvPr>
            <p:custDataLst>
              <p:tags r:id="rId1"/>
            </p:custDataLst>
          </p:nvPr>
        </p:nvSpPr>
        <p:spPr bwMode="auto">
          <a:xfrm>
            <a:off x="0" y="1062262"/>
            <a:ext cx="4860032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E7B921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r>
              <a:rPr lang="en-US" altLang="zh-CN" sz="2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</a:t>
            </a:r>
            <a:r>
              <a:rPr lang="zh-CN" altLang="en-US" sz="2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波导</a:t>
            </a:r>
            <a:r>
              <a:rPr lang="en-US" altLang="zh-CN" sz="2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速调管等更换</a:t>
            </a:r>
            <a:endParaRPr lang="en-US" altLang="zh-CN" sz="2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Rectangle 22"/>
          <p:cNvSpPr/>
          <p:nvPr>
            <p:custDataLst>
              <p:tags r:id="rId2"/>
            </p:custDataLst>
          </p:nvPr>
        </p:nvSpPr>
        <p:spPr bwMode="auto">
          <a:xfrm>
            <a:off x="4412282" y="1052738"/>
            <a:ext cx="4749180" cy="585589"/>
          </a:xfrm>
          <a:custGeom>
            <a:avLst/>
            <a:gdLst>
              <a:gd name="connsiteX0" fmla="*/ 0 w 4206255"/>
              <a:gd name="connsiteY0" fmla="*/ 0 h 576064"/>
              <a:gd name="connsiteX1" fmla="*/ 4206255 w 4206255"/>
              <a:gd name="connsiteY1" fmla="*/ 0 h 576064"/>
              <a:gd name="connsiteX2" fmla="*/ 4206255 w 4206255"/>
              <a:gd name="connsiteY2" fmla="*/ 576064 h 576064"/>
              <a:gd name="connsiteX3" fmla="*/ 0 w 4206255"/>
              <a:gd name="connsiteY3" fmla="*/ 576064 h 576064"/>
              <a:gd name="connsiteX4" fmla="*/ 0 w 4206255"/>
              <a:gd name="connsiteY4" fmla="*/ 0 h 576064"/>
              <a:gd name="connsiteX0-1" fmla="*/ 0 w 4749180"/>
              <a:gd name="connsiteY0-2" fmla="*/ 0 h 585589"/>
              <a:gd name="connsiteX1-3" fmla="*/ 4749180 w 4749180"/>
              <a:gd name="connsiteY1-4" fmla="*/ 9525 h 585589"/>
              <a:gd name="connsiteX2-5" fmla="*/ 4749180 w 4749180"/>
              <a:gd name="connsiteY2-6" fmla="*/ 585589 h 585589"/>
              <a:gd name="connsiteX3-7" fmla="*/ 542925 w 4749180"/>
              <a:gd name="connsiteY3-8" fmla="*/ 585589 h 585589"/>
              <a:gd name="connsiteX4-9" fmla="*/ 0 w 4749180"/>
              <a:gd name="connsiteY4-10" fmla="*/ 0 h 58558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749180" h="585589">
                <a:moveTo>
                  <a:pt x="0" y="0"/>
                </a:moveTo>
                <a:lnTo>
                  <a:pt x="4749180" y="9525"/>
                </a:lnTo>
                <a:lnTo>
                  <a:pt x="4749180" y="585589"/>
                </a:lnTo>
                <a:lnTo>
                  <a:pt x="542925" y="585589"/>
                </a:lnTo>
                <a:lnTo>
                  <a:pt x="0" y="0"/>
                </a:lnTo>
                <a:close/>
              </a:path>
            </a:pathLst>
          </a:custGeom>
          <a:solidFill>
            <a:srgbClr val="94C949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en-US" altLang="zh-CN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2024</a:t>
            </a: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年 </a:t>
            </a:r>
            <a:r>
              <a:rPr lang="en-US" altLang="zh-CN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· </a:t>
            </a: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夏</a:t>
            </a:r>
            <a:endParaRPr lang="en-US" sz="28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16" name="矩形 15"/>
          <p:cNvSpPr>
            <a:spLocks noChangeArrowheads="1"/>
          </p:cNvSpPr>
          <p:nvPr/>
        </p:nvSpPr>
        <p:spPr bwMode="auto">
          <a:xfrm>
            <a:off x="523850" y="1647853"/>
            <a:ext cx="8393016" cy="1661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Blip>
                <a:blip r:embed="rId5"/>
              </a:buBlip>
              <a:defRPr sz="28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▒"/>
              <a:defRPr kumimoji="1" sz="2400">
                <a:solidFill>
                  <a:srgbClr val="0000FF"/>
                </a:solidFill>
                <a:latin typeface="Arial Narrow" panose="020B0606020202030204" pitchFamily="34" charset="0"/>
                <a:ea typeface="华文楷体" panose="02010600040101010101" pitchFamily="2" charset="-122"/>
                <a:cs typeface="华文楷体" panose="02010600040101010101" pitchFamily="2" charset="-122"/>
              </a:defRPr>
            </a:lvl2pPr>
            <a:lvl3pPr marL="1143000" indent="-228600">
              <a:spcBef>
                <a:spcPct val="20000"/>
              </a:spcBef>
              <a:buBlip>
                <a:blip r:embed="rId6"/>
              </a:buBlip>
              <a:defRPr kumimoji="1" sz="2000">
                <a:solidFill>
                  <a:srgbClr val="E46C0A"/>
                </a:solidFill>
                <a:latin typeface="Arial Narrow" panose="020B0606020202030204" pitchFamily="34" charset="0"/>
                <a:ea typeface="华文仿宋" panose="02010600040101010101" pitchFamily="2" charset="-122"/>
                <a:cs typeface="华文仿宋" panose="0201060004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9pPr>
          </a:lstStyle>
          <a:p>
            <a:pPr algn="just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2000" b="0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能量倍增器</a:t>
            </a:r>
            <a:endParaRPr lang="en-US" altLang="zh-CN" sz="2000" b="0" dirty="0">
              <a:solidFill>
                <a:srgbClr val="E7B92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更换</a:t>
            </a:r>
            <a:r>
              <a:rPr lang="en-US" altLang="zh-CN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K8A/K10/K12</a:t>
            </a: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应</a:t>
            </a:r>
            <a:r>
              <a:rPr lang="en-US" altLang="zh-CN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台能量倍增器（含配套波导、支架、水冷、保温罩）</a:t>
            </a:r>
          </a:p>
          <a:p>
            <a:pPr marL="285750" indent="-285750" algn="just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完成水冷恢复</a:t>
            </a:r>
            <a:endParaRPr lang="en-US" altLang="zh-CN" sz="16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完成保温罩、电缆等恢复</a:t>
            </a:r>
            <a:endParaRPr lang="en-US" altLang="zh-CN" sz="16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2" name="组合 11"/>
          <p:cNvGrpSpPr/>
          <p:nvPr/>
        </p:nvGrpSpPr>
        <p:grpSpPr>
          <a:xfrm>
            <a:off x="897924" y="3498063"/>
            <a:ext cx="7202468" cy="3171299"/>
            <a:chOff x="897924" y="3498061"/>
            <a:chExt cx="7202468" cy="3171299"/>
          </a:xfrm>
        </p:grpSpPr>
        <p:grpSp>
          <p:nvGrpSpPr>
            <p:cNvPr id="9" name="组合 8"/>
            <p:cNvGrpSpPr/>
            <p:nvPr/>
          </p:nvGrpSpPr>
          <p:grpSpPr>
            <a:xfrm>
              <a:off x="1547664" y="6300028"/>
              <a:ext cx="5864451" cy="369332"/>
              <a:chOff x="1846848" y="6312334"/>
              <a:chExt cx="5864451" cy="369332"/>
            </a:xfrm>
          </p:grpSpPr>
          <p:sp>
            <p:nvSpPr>
              <p:cNvPr id="8" name="文本框 7"/>
              <p:cNvSpPr txBox="1"/>
              <p:nvPr/>
            </p:nvSpPr>
            <p:spPr>
              <a:xfrm>
                <a:off x="1846848" y="6312334"/>
                <a:ext cx="646331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b="1" dirty="0" smtClean="0"/>
                  <a:t>K8A</a:t>
                </a:r>
                <a:endParaRPr lang="zh-CN" altLang="en-US" b="1" dirty="0"/>
              </a:p>
            </p:txBody>
          </p:sp>
          <p:sp>
            <p:nvSpPr>
              <p:cNvPr id="10" name="文本框 9"/>
              <p:cNvSpPr txBox="1"/>
              <p:nvPr/>
            </p:nvSpPr>
            <p:spPr>
              <a:xfrm>
                <a:off x="4499785" y="6312334"/>
                <a:ext cx="60785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b="1" dirty="0" smtClean="0"/>
                  <a:t>K10</a:t>
                </a:r>
                <a:endParaRPr lang="zh-CN" altLang="en-US" b="1" dirty="0"/>
              </a:p>
            </p:txBody>
          </p:sp>
          <p:sp>
            <p:nvSpPr>
              <p:cNvPr id="11" name="文本框 10"/>
              <p:cNvSpPr txBox="1"/>
              <p:nvPr/>
            </p:nvSpPr>
            <p:spPr>
              <a:xfrm>
                <a:off x="7103440" y="6312334"/>
                <a:ext cx="60785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b="1" dirty="0" smtClean="0"/>
                  <a:t>K12</a:t>
                </a:r>
                <a:endParaRPr lang="zh-CN" altLang="en-US" b="1" dirty="0"/>
              </a:p>
            </p:txBody>
          </p:sp>
        </p:grpSp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97924" y="3498062"/>
              <a:ext cx="1945810" cy="2801966"/>
            </a:xfrm>
            <a:prstGeom prst="rect">
              <a:avLst/>
            </a:prstGeom>
          </p:spPr>
        </p:pic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539582" y="3498062"/>
              <a:ext cx="1929896" cy="2801966"/>
            </a:xfrm>
            <a:prstGeom prst="rect">
              <a:avLst/>
            </a:prstGeom>
          </p:spPr>
        </p:pic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130498" y="3498061"/>
              <a:ext cx="1969894" cy="2811327"/>
            </a:xfrm>
            <a:prstGeom prst="rect">
              <a:avLst/>
            </a:prstGeom>
          </p:spPr>
        </p:pic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141"/>
    </mc:Choice>
    <mc:Fallback xmlns="">
      <p:transition spd="slow" advTm="25141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暑期检修</a:t>
            </a:r>
          </a:p>
          <a:p>
            <a:endParaRPr lang="zh-CN" altLang="en-US" dirty="0"/>
          </a:p>
        </p:txBody>
      </p:sp>
      <p:sp>
        <p:nvSpPr>
          <p:cNvPr id="4" name="Rectangle 22"/>
          <p:cNvSpPr/>
          <p:nvPr>
            <p:custDataLst>
              <p:tags r:id="rId1"/>
            </p:custDataLst>
          </p:nvPr>
        </p:nvSpPr>
        <p:spPr bwMode="auto">
          <a:xfrm>
            <a:off x="0" y="1062262"/>
            <a:ext cx="4860032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E7B921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r>
              <a:rPr lang="en-US" altLang="zh-CN" sz="2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</a:t>
            </a:r>
            <a:r>
              <a:rPr lang="zh-CN" altLang="en-US" sz="2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波导</a:t>
            </a:r>
            <a:r>
              <a:rPr lang="en-US" altLang="zh-CN" sz="2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速调管等更换</a:t>
            </a:r>
            <a:endParaRPr lang="en-US" altLang="zh-CN" sz="2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Rectangle 22"/>
          <p:cNvSpPr/>
          <p:nvPr>
            <p:custDataLst>
              <p:tags r:id="rId2"/>
            </p:custDataLst>
          </p:nvPr>
        </p:nvSpPr>
        <p:spPr bwMode="auto">
          <a:xfrm>
            <a:off x="4412282" y="1052738"/>
            <a:ext cx="4749180" cy="585589"/>
          </a:xfrm>
          <a:custGeom>
            <a:avLst/>
            <a:gdLst>
              <a:gd name="connsiteX0" fmla="*/ 0 w 4206255"/>
              <a:gd name="connsiteY0" fmla="*/ 0 h 576064"/>
              <a:gd name="connsiteX1" fmla="*/ 4206255 w 4206255"/>
              <a:gd name="connsiteY1" fmla="*/ 0 h 576064"/>
              <a:gd name="connsiteX2" fmla="*/ 4206255 w 4206255"/>
              <a:gd name="connsiteY2" fmla="*/ 576064 h 576064"/>
              <a:gd name="connsiteX3" fmla="*/ 0 w 4206255"/>
              <a:gd name="connsiteY3" fmla="*/ 576064 h 576064"/>
              <a:gd name="connsiteX4" fmla="*/ 0 w 4206255"/>
              <a:gd name="connsiteY4" fmla="*/ 0 h 576064"/>
              <a:gd name="connsiteX0-1" fmla="*/ 0 w 4749180"/>
              <a:gd name="connsiteY0-2" fmla="*/ 0 h 585589"/>
              <a:gd name="connsiteX1-3" fmla="*/ 4749180 w 4749180"/>
              <a:gd name="connsiteY1-4" fmla="*/ 9525 h 585589"/>
              <a:gd name="connsiteX2-5" fmla="*/ 4749180 w 4749180"/>
              <a:gd name="connsiteY2-6" fmla="*/ 585589 h 585589"/>
              <a:gd name="connsiteX3-7" fmla="*/ 542925 w 4749180"/>
              <a:gd name="connsiteY3-8" fmla="*/ 585589 h 585589"/>
              <a:gd name="connsiteX4-9" fmla="*/ 0 w 4749180"/>
              <a:gd name="connsiteY4-10" fmla="*/ 0 h 58558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749180" h="585589">
                <a:moveTo>
                  <a:pt x="0" y="0"/>
                </a:moveTo>
                <a:lnTo>
                  <a:pt x="4749180" y="9525"/>
                </a:lnTo>
                <a:lnTo>
                  <a:pt x="4749180" y="585589"/>
                </a:lnTo>
                <a:lnTo>
                  <a:pt x="542925" y="585589"/>
                </a:lnTo>
                <a:lnTo>
                  <a:pt x="0" y="0"/>
                </a:lnTo>
                <a:close/>
              </a:path>
            </a:pathLst>
          </a:custGeom>
          <a:solidFill>
            <a:srgbClr val="94C949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en-US" altLang="zh-CN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2024</a:t>
            </a: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年 </a:t>
            </a:r>
            <a:r>
              <a:rPr lang="en-US" altLang="zh-CN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· </a:t>
            </a: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夏</a:t>
            </a:r>
            <a:endParaRPr lang="en-US" sz="28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16" name="矩形 15"/>
          <p:cNvSpPr>
            <a:spLocks noChangeArrowheads="1"/>
          </p:cNvSpPr>
          <p:nvPr/>
        </p:nvSpPr>
        <p:spPr bwMode="auto">
          <a:xfrm>
            <a:off x="251520" y="1737390"/>
            <a:ext cx="2376264" cy="4278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Blip>
                <a:blip r:embed="rId5"/>
              </a:buBlip>
              <a:defRPr sz="28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▒"/>
              <a:defRPr kumimoji="1" sz="2400">
                <a:solidFill>
                  <a:srgbClr val="0000FF"/>
                </a:solidFill>
                <a:latin typeface="Arial Narrow" panose="020B0606020202030204" pitchFamily="34" charset="0"/>
                <a:ea typeface="华文楷体" panose="02010600040101010101" pitchFamily="2" charset="-122"/>
                <a:cs typeface="华文楷体" panose="02010600040101010101" pitchFamily="2" charset="-122"/>
              </a:defRPr>
            </a:lvl2pPr>
            <a:lvl3pPr marL="1143000" indent="-228600">
              <a:spcBef>
                <a:spcPct val="20000"/>
              </a:spcBef>
              <a:buBlip>
                <a:blip r:embed="rId6"/>
              </a:buBlip>
              <a:defRPr kumimoji="1" sz="2000">
                <a:solidFill>
                  <a:srgbClr val="E46C0A"/>
                </a:solidFill>
                <a:latin typeface="Arial Narrow" panose="020B0606020202030204" pitchFamily="34" charset="0"/>
                <a:ea typeface="华文仿宋" panose="02010600040101010101" pitchFamily="2" charset="-122"/>
                <a:cs typeface="华文仿宋" panose="0201060004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9pPr>
          </a:lstStyle>
          <a:p>
            <a:pPr algn="just">
              <a:lnSpc>
                <a:spcPct val="200000"/>
              </a:lnSpc>
              <a:spcBef>
                <a:spcPct val="0"/>
              </a:spcBef>
              <a:buFontTx/>
              <a:buNone/>
            </a:pPr>
            <a:r>
              <a:rPr lang="en-US" altLang="zh-CN" sz="2000" b="0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6A/K12A</a:t>
            </a:r>
            <a:r>
              <a:rPr lang="zh-CN" altLang="en-US" sz="2000" b="0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升能</a:t>
            </a:r>
            <a:endParaRPr lang="en-US" altLang="zh-CN" sz="2000" b="0" dirty="0">
              <a:solidFill>
                <a:srgbClr val="E7B92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20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完成</a:t>
            </a:r>
            <a:r>
              <a:rPr lang="en-US" altLang="zh-CN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K6A/K12A</a:t>
            </a: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两套升能安装、以及相应测试工作</a:t>
            </a:r>
            <a:endParaRPr lang="en-US" altLang="zh-CN" sz="16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20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同时更换</a:t>
            </a:r>
            <a:r>
              <a:rPr lang="en-US" altLang="zh-CN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K6</a:t>
            </a: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能量倍增器上方漏水直波导</a:t>
            </a:r>
            <a:endParaRPr lang="en-US" altLang="zh-CN" sz="16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200000"/>
              </a:lnSpc>
              <a:spcBef>
                <a:spcPct val="0"/>
              </a:spcBef>
              <a:buFontTx/>
              <a:buNone/>
            </a:pPr>
            <a:r>
              <a:rPr lang="zh-CN" altLang="en-US" sz="2000" b="0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速调管</a:t>
            </a:r>
            <a:endParaRPr lang="en-US" altLang="zh-CN" sz="2000" b="0" dirty="0">
              <a:solidFill>
                <a:srgbClr val="E7B92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20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更换</a:t>
            </a:r>
            <a:r>
              <a:rPr lang="en-US" altLang="zh-CN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K5</a:t>
            </a: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速调管</a:t>
            </a:r>
            <a:endParaRPr lang="en-US" altLang="zh-CN" sz="16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15816" y="1807988"/>
            <a:ext cx="5850393" cy="478936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141"/>
    </mc:Choice>
    <mc:Fallback xmlns="">
      <p:transition spd="slow" advTm="25141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暑期</a:t>
            </a:r>
            <a:r>
              <a:rPr lang="zh-CN" altLang="en-US" dirty="0" smtClean="0"/>
              <a:t>检修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4" name="Rectangle 22"/>
          <p:cNvSpPr/>
          <p:nvPr>
            <p:custDataLst>
              <p:tags r:id="rId1"/>
            </p:custDataLst>
          </p:nvPr>
        </p:nvSpPr>
        <p:spPr bwMode="auto">
          <a:xfrm>
            <a:off x="0" y="1062262"/>
            <a:ext cx="4860032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E7B921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微波</a:t>
            </a:r>
            <a:r>
              <a:rPr lang="zh-CN" altLang="en-US" sz="28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激励系统</a:t>
            </a:r>
            <a:endParaRPr lang="en-US" altLang="zh-CN" sz="28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6" name="Rectangle 22"/>
          <p:cNvSpPr/>
          <p:nvPr>
            <p:custDataLst>
              <p:tags r:id="rId2"/>
            </p:custDataLst>
          </p:nvPr>
        </p:nvSpPr>
        <p:spPr bwMode="auto">
          <a:xfrm>
            <a:off x="4412282" y="1052738"/>
            <a:ext cx="4749180" cy="585589"/>
          </a:xfrm>
          <a:custGeom>
            <a:avLst/>
            <a:gdLst>
              <a:gd name="connsiteX0" fmla="*/ 0 w 4206255"/>
              <a:gd name="connsiteY0" fmla="*/ 0 h 576064"/>
              <a:gd name="connsiteX1" fmla="*/ 4206255 w 4206255"/>
              <a:gd name="connsiteY1" fmla="*/ 0 h 576064"/>
              <a:gd name="connsiteX2" fmla="*/ 4206255 w 4206255"/>
              <a:gd name="connsiteY2" fmla="*/ 576064 h 576064"/>
              <a:gd name="connsiteX3" fmla="*/ 0 w 4206255"/>
              <a:gd name="connsiteY3" fmla="*/ 576064 h 576064"/>
              <a:gd name="connsiteX4" fmla="*/ 0 w 4206255"/>
              <a:gd name="connsiteY4" fmla="*/ 0 h 576064"/>
              <a:gd name="connsiteX0-1" fmla="*/ 0 w 4749180"/>
              <a:gd name="connsiteY0-2" fmla="*/ 0 h 585589"/>
              <a:gd name="connsiteX1-3" fmla="*/ 4749180 w 4749180"/>
              <a:gd name="connsiteY1-4" fmla="*/ 9525 h 585589"/>
              <a:gd name="connsiteX2-5" fmla="*/ 4749180 w 4749180"/>
              <a:gd name="connsiteY2-6" fmla="*/ 585589 h 585589"/>
              <a:gd name="connsiteX3-7" fmla="*/ 542925 w 4749180"/>
              <a:gd name="connsiteY3-8" fmla="*/ 585589 h 585589"/>
              <a:gd name="connsiteX4-9" fmla="*/ 0 w 4749180"/>
              <a:gd name="connsiteY4-10" fmla="*/ 0 h 58558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749180" h="585589">
                <a:moveTo>
                  <a:pt x="0" y="0"/>
                </a:moveTo>
                <a:lnTo>
                  <a:pt x="4749180" y="9525"/>
                </a:lnTo>
                <a:lnTo>
                  <a:pt x="4749180" y="585589"/>
                </a:lnTo>
                <a:lnTo>
                  <a:pt x="542925" y="585589"/>
                </a:lnTo>
                <a:lnTo>
                  <a:pt x="0" y="0"/>
                </a:lnTo>
                <a:close/>
              </a:path>
            </a:pathLst>
          </a:custGeom>
          <a:solidFill>
            <a:srgbClr val="94C949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en-US" altLang="zh-CN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2024</a:t>
            </a: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年 </a:t>
            </a:r>
            <a:r>
              <a:rPr lang="en-US" altLang="zh-CN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· </a:t>
            </a: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夏</a:t>
            </a:r>
            <a:endParaRPr lang="en-US" sz="28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7" name="矩形 6"/>
          <p:cNvSpPr>
            <a:spLocks noChangeArrowheads="1"/>
          </p:cNvSpPr>
          <p:nvPr/>
        </p:nvSpPr>
        <p:spPr bwMode="auto">
          <a:xfrm>
            <a:off x="320677" y="1671955"/>
            <a:ext cx="8355779" cy="478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rmAutofit fontScale="97500"/>
          </a:bodyPr>
          <a:lstStyle>
            <a:lvl1pPr>
              <a:spcBef>
                <a:spcPct val="20000"/>
              </a:spcBef>
              <a:buBlip>
                <a:blip r:embed="rId5"/>
              </a:buBlip>
              <a:defRPr sz="28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▒"/>
              <a:defRPr kumimoji="1" sz="2400">
                <a:solidFill>
                  <a:srgbClr val="0000FF"/>
                </a:solidFill>
                <a:latin typeface="Arial Narrow" panose="020B0606020202030204" pitchFamily="34" charset="0"/>
                <a:ea typeface="华文楷体" panose="02010600040101010101" pitchFamily="2" charset="-122"/>
                <a:cs typeface="华文楷体" panose="02010600040101010101" pitchFamily="2" charset="-122"/>
              </a:defRPr>
            </a:lvl2pPr>
            <a:lvl3pPr marL="1143000" indent="-228600">
              <a:spcBef>
                <a:spcPct val="20000"/>
              </a:spcBef>
              <a:buBlip>
                <a:blip r:embed="rId6"/>
              </a:buBlip>
              <a:defRPr kumimoji="1" sz="2000">
                <a:solidFill>
                  <a:srgbClr val="E46C0A"/>
                </a:solidFill>
                <a:latin typeface="Arial Narrow" panose="020B0606020202030204" pitchFamily="34" charset="0"/>
                <a:ea typeface="华文仿宋" panose="02010600040101010101" pitchFamily="2" charset="-122"/>
                <a:cs typeface="华文仿宋" panose="0201060004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9pPr>
          </a:lstStyle>
          <a:p>
            <a:pPr algn="just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2000" b="0" dirty="0" smtClean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前端信号变换和分配部分进行了大改造</a:t>
            </a:r>
            <a:r>
              <a:rPr lang="zh-CN" altLang="en-US" sz="2000" b="0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详见前述）</a:t>
            </a:r>
            <a:endParaRPr lang="en-US" altLang="zh-CN" sz="2000" b="0" dirty="0" smtClean="0">
              <a:solidFill>
                <a:srgbClr val="E7B92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algn="just" hangingPunct="1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9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取消了半导体恒温箱</a:t>
            </a:r>
            <a:endParaRPr lang="en-US" altLang="zh-CN" sz="19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algn="just" hangingPunct="1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9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主振挪至中控室</a:t>
            </a:r>
            <a:endParaRPr lang="en-US" altLang="zh-CN" sz="19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algn="just" hangingPunct="1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9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增多项</a:t>
            </a:r>
            <a:r>
              <a:rPr lang="zh-CN" altLang="en-US" sz="19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功能</a:t>
            </a:r>
            <a:endParaRPr lang="en-US" altLang="zh-CN" sz="1800" b="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141"/>
    </mc:Choice>
    <mc:Fallback xmlns="">
      <p:transition spd="slow" advTm="25141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暑期检修</a:t>
            </a:r>
          </a:p>
          <a:p>
            <a:endParaRPr lang="zh-CN" altLang="en-US" dirty="0"/>
          </a:p>
        </p:txBody>
      </p:sp>
      <p:sp>
        <p:nvSpPr>
          <p:cNvPr id="4" name="Rectangle 22"/>
          <p:cNvSpPr/>
          <p:nvPr>
            <p:custDataLst>
              <p:tags r:id="rId1"/>
            </p:custDataLst>
          </p:nvPr>
        </p:nvSpPr>
        <p:spPr bwMode="auto">
          <a:xfrm>
            <a:off x="0" y="1062262"/>
            <a:ext cx="4860032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E7B921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微波功率采集与传输系统</a:t>
            </a:r>
            <a:endParaRPr lang="en-US" altLang="zh-CN" sz="28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6" name="Rectangle 22"/>
          <p:cNvSpPr/>
          <p:nvPr>
            <p:custDataLst>
              <p:tags r:id="rId2"/>
            </p:custDataLst>
          </p:nvPr>
        </p:nvSpPr>
        <p:spPr bwMode="auto">
          <a:xfrm>
            <a:off x="4412282" y="1052738"/>
            <a:ext cx="4749180" cy="585589"/>
          </a:xfrm>
          <a:custGeom>
            <a:avLst/>
            <a:gdLst>
              <a:gd name="connsiteX0" fmla="*/ 0 w 4206255"/>
              <a:gd name="connsiteY0" fmla="*/ 0 h 576064"/>
              <a:gd name="connsiteX1" fmla="*/ 4206255 w 4206255"/>
              <a:gd name="connsiteY1" fmla="*/ 0 h 576064"/>
              <a:gd name="connsiteX2" fmla="*/ 4206255 w 4206255"/>
              <a:gd name="connsiteY2" fmla="*/ 576064 h 576064"/>
              <a:gd name="connsiteX3" fmla="*/ 0 w 4206255"/>
              <a:gd name="connsiteY3" fmla="*/ 576064 h 576064"/>
              <a:gd name="connsiteX4" fmla="*/ 0 w 4206255"/>
              <a:gd name="connsiteY4" fmla="*/ 0 h 576064"/>
              <a:gd name="connsiteX0-1" fmla="*/ 0 w 4749180"/>
              <a:gd name="connsiteY0-2" fmla="*/ 0 h 585589"/>
              <a:gd name="connsiteX1-3" fmla="*/ 4749180 w 4749180"/>
              <a:gd name="connsiteY1-4" fmla="*/ 9525 h 585589"/>
              <a:gd name="connsiteX2-5" fmla="*/ 4749180 w 4749180"/>
              <a:gd name="connsiteY2-6" fmla="*/ 585589 h 585589"/>
              <a:gd name="connsiteX3-7" fmla="*/ 542925 w 4749180"/>
              <a:gd name="connsiteY3-8" fmla="*/ 585589 h 585589"/>
              <a:gd name="connsiteX4-9" fmla="*/ 0 w 4749180"/>
              <a:gd name="connsiteY4-10" fmla="*/ 0 h 58558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749180" h="585589">
                <a:moveTo>
                  <a:pt x="0" y="0"/>
                </a:moveTo>
                <a:lnTo>
                  <a:pt x="4749180" y="9525"/>
                </a:lnTo>
                <a:lnTo>
                  <a:pt x="4749180" y="585589"/>
                </a:lnTo>
                <a:lnTo>
                  <a:pt x="542925" y="585589"/>
                </a:lnTo>
                <a:lnTo>
                  <a:pt x="0" y="0"/>
                </a:lnTo>
                <a:close/>
              </a:path>
            </a:pathLst>
          </a:custGeom>
          <a:solidFill>
            <a:srgbClr val="94C949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en-US" altLang="zh-CN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2024</a:t>
            </a: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年 </a:t>
            </a:r>
            <a:r>
              <a:rPr lang="en-US" altLang="zh-CN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· </a:t>
            </a: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夏</a:t>
            </a:r>
            <a:endParaRPr lang="en-US" sz="28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7" name="矩形 6"/>
          <p:cNvSpPr>
            <a:spLocks noChangeArrowheads="1"/>
          </p:cNvSpPr>
          <p:nvPr/>
        </p:nvSpPr>
        <p:spPr bwMode="auto">
          <a:xfrm>
            <a:off x="199711" y="1772816"/>
            <a:ext cx="8717157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Blip>
                <a:blip r:embed="rId5"/>
              </a:buBlip>
              <a:defRPr sz="28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▒"/>
              <a:defRPr kumimoji="1" sz="2400">
                <a:solidFill>
                  <a:srgbClr val="0000FF"/>
                </a:solidFill>
                <a:latin typeface="Arial Narrow" panose="020B0606020202030204" pitchFamily="34" charset="0"/>
                <a:ea typeface="华文楷体" panose="02010600040101010101" pitchFamily="2" charset="-122"/>
                <a:cs typeface="华文楷体" panose="02010600040101010101" pitchFamily="2" charset="-122"/>
              </a:defRPr>
            </a:lvl2pPr>
            <a:lvl3pPr marL="1143000" indent="-228600">
              <a:spcBef>
                <a:spcPct val="20000"/>
              </a:spcBef>
              <a:buBlip>
                <a:blip r:embed="rId6"/>
              </a:buBlip>
              <a:defRPr kumimoji="1" sz="2000">
                <a:solidFill>
                  <a:srgbClr val="E46C0A"/>
                </a:solidFill>
                <a:latin typeface="Arial Narrow" panose="020B0606020202030204" pitchFamily="34" charset="0"/>
                <a:ea typeface="华文仿宋" panose="02010600040101010101" pitchFamily="2" charset="-122"/>
                <a:cs typeface="华文仿宋" panose="0201060004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9pPr>
          </a:lstStyle>
          <a:p>
            <a:pPr algn="just">
              <a:lnSpc>
                <a:spcPct val="200000"/>
              </a:lnSpc>
              <a:spcBef>
                <a:spcPct val="0"/>
              </a:spcBef>
              <a:buFontTx/>
              <a:buNone/>
            </a:pPr>
            <a:r>
              <a:rPr lang="zh-CN" altLang="en-US" sz="2400" b="0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完成前述能量倍增器、速调管及升能安装任务</a:t>
            </a:r>
            <a:endParaRPr lang="en-US" altLang="zh-CN" sz="2400" b="0" dirty="0">
              <a:solidFill>
                <a:srgbClr val="E7B92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200000"/>
              </a:lnSpc>
              <a:spcBef>
                <a:spcPct val="0"/>
              </a:spcBef>
              <a:buFontTx/>
              <a:buNone/>
            </a:pPr>
            <a:r>
              <a:rPr lang="zh-CN" altLang="en-US" sz="2400" b="0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完成</a:t>
            </a:r>
            <a:r>
              <a:rPr lang="en-US" altLang="zh-CN" sz="2400" b="0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400" b="0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台工控机</a:t>
            </a:r>
            <a:r>
              <a:rPr lang="en-US" altLang="zh-CN" sz="2400" b="0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2</a:t>
            </a:r>
            <a:r>
              <a:rPr lang="zh-CN" altLang="en-US" sz="2400" b="0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台功率计备件检查</a:t>
            </a:r>
            <a:endParaRPr lang="en-US" altLang="zh-CN" sz="2400" b="0" dirty="0">
              <a:solidFill>
                <a:srgbClr val="E7B92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141"/>
    </mc:Choice>
    <mc:Fallback xmlns="">
      <p:transition spd="slow" advTm="25141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暑期检修</a:t>
            </a:r>
          </a:p>
          <a:p>
            <a:endParaRPr lang="zh-CN" altLang="en-US" dirty="0"/>
          </a:p>
        </p:txBody>
      </p:sp>
      <p:sp>
        <p:nvSpPr>
          <p:cNvPr id="8" name="矩形 7"/>
          <p:cNvSpPr>
            <a:spLocks noChangeArrowheads="1"/>
          </p:cNvSpPr>
          <p:nvPr/>
        </p:nvSpPr>
        <p:spPr bwMode="auto">
          <a:xfrm>
            <a:off x="300405" y="1988840"/>
            <a:ext cx="8606095" cy="4413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Blip>
                <a:blip r:embed="rId5"/>
              </a:buBlip>
              <a:defRPr sz="28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▒"/>
              <a:defRPr kumimoji="1" sz="2400">
                <a:solidFill>
                  <a:srgbClr val="0000FF"/>
                </a:solidFill>
                <a:latin typeface="Arial Narrow" panose="020B0606020202030204" pitchFamily="34" charset="0"/>
                <a:ea typeface="华文楷体" panose="02010600040101010101" pitchFamily="2" charset="-122"/>
                <a:cs typeface="华文楷体" panose="02010600040101010101" pitchFamily="2" charset="-122"/>
              </a:defRPr>
            </a:lvl2pPr>
            <a:lvl3pPr marL="1143000" indent="-228600">
              <a:spcBef>
                <a:spcPct val="20000"/>
              </a:spcBef>
              <a:buBlip>
                <a:blip r:embed="rId6"/>
              </a:buBlip>
              <a:defRPr kumimoji="1" sz="2000">
                <a:solidFill>
                  <a:srgbClr val="E46C0A"/>
                </a:solidFill>
                <a:latin typeface="Arial Narrow" panose="020B0606020202030204" pitchFamily="34" charset="0"/>
                <a:ea typeface="华文仿宋" panose="02010600040101010101" pitchFamily="2" charset="-122"/>
                <a:cs typeface="华文仿宋" panose="0201060004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9pPr>
          </a:lstStyle>
          <a:p>
            <a:pPr algn="just">
              <a:lnSpc>
                <a:spcPct val="130000"/>
              </a:lnSpc>
              <a:spcBef>
                <a:spcPct val="0"/>
              </a:spcBef>
              <a:buNone/>
            </a:pPr>
            <a:r>
              <a:rPr lang="zh-CN" altLang="en-US" sz="2400" b="0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完成已升级的</a:t>
            </a:r>
            <a:r>
              <a:rPr lang="en-US" altLang="zh-CN" sz="2400" b="0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1</a:t>
            </a:r>
            <a:r>
              <a:rPr lang="zh-CN" altLang="en-US" sz="2400" b="0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套数字相控系统硬件维护、机柜整理</a:t>
            </a:r>
            <a:endParaRPr lang="en-US" altLang="zh-CN" sz="2400" b="0" dirty="0">
              <a:solidFill>
                <a:srgbClr val="E7B92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algn="just">
              <a:lnSpc>
                <a:spcPct val="13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匹配参考信号衰减，适配新主振</a:t>
            </a:r>
            <a:endParaRPr lang="en-US" altLang="zh-CN" sz="24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algn="just">
              <a:lnSpc>
                <a:spcPct val="13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机箱清理，故障散热模块维修</a:t>
            </a:r>
            <a:endParaRPr lang="en-US" altLang="zh-CN" sz="24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130000"/>
              </a:lnSpc>
              <a:spcBef>
                <a:spcPct val="0"/>
              </a:spcBef>
              <a:buNone/>
            </a:pPr>
            <a:endParaRPr lang="en-US" altLang="zh-CN" sz="2400" b="0" dirty="0">
              <a:solidFill>
                <a:srgbClr val="E7B92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130000"/>
              </a:lnSpc>
              <a:spcBef>
                <a:spcPct val="0"/>
              </a:spcBef>
              <a:buNone/>
            </a:pPr>
            <a:r>
              <a:rPr lang="zh-CN" altLang="en-US" sz="2400" b="0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剩余</a:t>
            </a:r>
            <a:r>
              <a:rPr lang="en-US" altLang="zh-CN" sz="2400" b="0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r>
            <a:r>
              <a:rPr lang="zh-CN" altLang="en-US" sz="2400" b="0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套相控</a:t>
            </a:r>
            <a:r>
              <a:rPr lang="zh-CN" altLang="en-US" sz="2400" b="0" dirty="0" smtClean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升级</a:t>
            </a:r>
            <a:r>
              <a:rPr lang="en-US" altLang="zh-CN" sz="2400" b="0" dirty="0" smtClean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2400" b="0" dirty="0" smtClean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升</a:t>
            </a:r>
            <a:r>
              <a:rPr lang="zh-CN" altLang="en-US" sz="2400" b="0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能</a:t>
            </a:r>
            <a:r>
              <a:rPr lang="en-US" altLang="zh-CN" sz="2400" b="0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400" b="0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套相控</a:t>
            </a:r>
            <a:r>
              <a:rPr lang="zh-CN" altLang="en-US" sz="2400" b="0" dirty="0" smtClean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安装调试</a:t>
            </a:r>
            <a:endParaRPr lang="en-US" altLang="zh-CN" sz="2400" b="0" dirty="0">
              <a:solidFill>
                <a:srgbClr val="E7B92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algn="just">
              <a:lnSpc>
                <a:spcPct val="13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拆除旧</a:t>
            </a:r>
            <a:r>
              <a:rPr lang="en-US" altLang="zh-CN" sz="24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AD+I</a:t>
            </a:r>
            <a:r>
              <a:rPr lang="az-Cyrl-AZ" altLang="zh-CN" sz="24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Ф</a:t>
            </a:r>
            <a:r>
              <a:rPr lang="en-US" altLang="zh-CN" sz="24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</a:t>
            </a:r>
            <a:r>
              <a:rPr lang="zh-CN" altLang="en-US" sz="24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相控系统</a:t>
            </a:r>
            <a:endParaRPr lang="en-US" altLang="zh-CN" sz="24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algn="just">
              <a:lnSpc>
                <a:spcPct val="13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字低电平相控硬件安装</a:t>
            </a:r>
            <a:endParaRPr lang="en-US" altLang="zh-CN" sz="24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algn="just">
              <a:lnSpc>
                <a:spcPct val="13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缆整理、微波衰减标定</a:t>
            </a:r>
            <a:endParaRPr lang="en-US" altLang="zh-CN" sz="24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algn="just">
              <a:lnSpc>
                <a:spcPct val="13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24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完成硬件安装与软件</a:t>
            </a:r>
            <a:r>
              <a:rPr lang="zh-CN" altLang="en-US" sz="24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调试</a:t>
            </a:r>
            <a:endParaRPr lang="en-US" altLang="zh-CN" sz="24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Rectangle 22"/>
          <p:cNvSpPr/>
          <p:nvPr>
            <p:custDataLst>
              <p:tags r:id="rId1"/>
            </p:custDataLst>
          </p:nvPr>
        </p:nvSpPr>
        <p:spPr bwMode="auto">
          <a:xfrm>
            <a:off x="0" y="1062262"/>
            <a:ext cx="4860032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E7B921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低电平</a:t>
            </a:r>
            <a:r>
              <a:rPr lang="zh-CN" altLang="en-US" sz="28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系统</a:t>
            </a:r>
            <a:endParaRPr lang="en-US" altLang="zh-CN" sz="28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14" name="Rectangle 22"/>
          <p:cNvSpPr/>
          <p:nvPr>
            <p:custDataLst>
              <p:tags r:id="rId2"/>
            </p:custDataLst>
          </p:nvPr>
        </p:nvSpPr>
        <p:spPr bwMode="auto">
          <a:xfrm>
            <a:off x="4412282" y="1052738"/>
            <a:ext cx="4749180" cy="585589"/>
          </a:xfrm>
          <a:custGeom>
            <a:avLst/>
            <a:gdLst>
              <a:gd name="connsiteX0" fmla="*/ 0 w 4206255"/>
              <a:gd name="connsiteY0" fmla="*/ 0 h 576064"/>
              <a:gd name="connsiteX1" fmla="*/ 4206255 w 4206255"/>
              <a:gd name="connsiteY1" fmla="*/ 0 h 576064"/>
              <a:gd name="connsiteX2" fmla="*/ 4206255 w 4206255"/>
              <a:gd name="connsiteY2" fmla="*/ 576064 h 576064"/>
              <a:gd name="connsiteX3" fmla="*/ 0 w 4206255"/>
              <a:gd name="connsiteY3" fmla="*/ 576064 h 576064"/>
              <a:gd name="connsiteX4" fmla="*/ 0 w 4206255"/>
              <a:gd name="connsiteY4" fmla="*/ 0 h 576064"/>
              <a:gd name="connsiteX0-1" fmla="*/ 0 w 4749180"/>
              <a:gd name="connsiteY0-2" fmla="*/ 0 h 585589"/>
              <a:gd name="connsiteX1-3" fmla="*/ 4749180 w 4749180"/>
              <a:gd name="connsiteY1-4" fmla="*/ 9525 h 585589"/>
              <a:gd name="connsiteX2-5" fmla="*/ 4749180 w 4749180"/>
              <a:gd name="connsiteY2-6" fmla="*/ 585589 h 585589"/>
              <a:gd name="connsiteX3-7" fmla="*/ 542925 w 4749180"/>
              <a:gd name="connsiteY3-8" fmla="*/ 585589 h 585589"/>
              <a:gd name="connsiteX4-9" fmla="*/ 0 w 4749180"/>
              <a:gd name="connsiteY4-10" fmla="*/ 0 h 58558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749180" h="585589">
                <a:moveTo>
                  <a:pt x="0" y="0"/>
                </a:moveTo>
                <a:lnTo>
                  <a:pt x="4749180" y="9525"/>
                </a:lnTo>
                <a:lnTo>
                  <a:pt x="4749180" y="585589"/>
                </a:lnTo>
                <a:lnTo>
                  <a:pt x="542925" y="585589"/>
                </a:lnTo>
                <a:lnTo>
                  <a:pt x="0" y="0"/>
                </a:lnTo>
                <a:close/>
              </a:path>
            </a:pathLst>
          </a:custGeom>
          <a:solidFill>
            <a:srgbClr val="94C949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en-US" altLang="zh-CN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2024</a:t>
            </a: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年 </a:t>
            </a:r>
            <a:r>
              <a:rPr lang="en-US" altLang="zh-CN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· </a:t>
            </a: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夏</a:t>
            </a:r>
            <a:endParaRPr lang="en-US" sz="28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141"/>
    </mc:Choice>
    <mc:Fallback xmlns="">
      <p:transition spd="slow" advTm="25141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暑期</a:t>
            </a:r>
            <a:r>
              <a:rPr lang="zh-CN" altLang="en-US" dirty="0" smtClean="0"/>
              <a:t>检修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4" name="Rectangle 22"/>
          <p:cNvSpPr/>
          <p:nvPr>
            <p:custDataLst>
              <p:tags r:id="rId1"/>
            </p:custDataLst>
          </p:nvPr>
        </p:nvSpPr>
        <p:spPr bwMode="auto">
          <a:xfrm>
            <a:off x="0" y="1062262"/>
            <a:ext cx="4860032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E7B921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次谐波系统</a:t>
            </a:r>
            <a:endParaRPr lang="en-US" altLang="zh-CN" sz="28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6" name="Rectangle 22"/>
          <p:cNvSpPr/>
          <p:nvPr>
            <p:custDataLst>
              <p:tags r:id="rId2"/>
            </p:custDataLst>
          </p:nvPr>
        </p:nvSpPr>
        <p:spPr bwMode="auto">
          <a:xfrm>
            <a:off x="4412282" y="1052738"/>
            <a:ext cx="4749180" cy="585589"/>
          </a:xfrm>
          <a:custGeom>
            <a:avLst/>
            <a:gdLst>
              <a:gd name="connsiteX0" fmla="*/ 0 w 4206255"/>
              <a:gd name="connsiteY0" fmla="*/ 0 h 576064"/>
              <a:gd name="connsiteX1" fmla="*/ 4206255 w 4206255"/>
              <a:gd name="connsiteY1" fmla="*/ 0 h 576064"/>
              <a:gd name="connsiteX2" fmla="*/ 4206255 w 4206255"/>
              <a:gd name="connsiteY2" fmla="*/ 576064 h 576064"/>
              <a:gd name="connsiteX3" fmla="*/ 0 w 4206255"/>
              <a:gd name="connsiteY3" fmla="*/ 576064 h 576064"/>
              <a:gd name="connsiteX4" fmla="*/ 0 w 4206255"/>
              <a:gd name="connsiteY4" fmla="*/ 0 h 576064"/>
              <a:gd name="connsiteX0-1" fmla="*/ 0 w 4749180"/>
              <a:gd name="connsiteY0-2" fmla="*/ 0 h 585589"/>
              <a:gd name="connsiteX1-3" fmla="*/ 4749180 w 4749180"/>
              <a:gd name="connsiteY1-4" fmla="*/ 9525 h 585589"/>
              <a:gd name="connsiteX2-5" fmla="*/ 4749180 w 4749180"/>
              <a:gd name="connsiteY2-6" fmla="*/ 585589 h 585589"/>
              <a:gd name="connsiteX3-7" fmla="*/ 542925 w 4749180"/>
              <a:gd name="connsiteY3-8" fmla="*/ 585589 h 585589"/>
              <a:gd name="connsiteX4-9" fmla="*/ 0 w 4749180"/>
              <a:gd name="connsiteY4-10" fmla="*/ 0 h 58558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749180" h="585589">
                <a:moveTo>
                  <a:pt x="0" y="0"/>
                </a:moveTo>
                <a:lnTo>
                  <a:pt x="4749180" y="9525"/>
                </a:lnTo>
                <a:lnTo>
                  <a:pt x="4749180" y="585589"/>
                </a:lnTo>
                <a:lnTo>
                  <a:pt x="542925" y="585589"/>
                </a:lnTo>
                <a:lnTo>
                  <a:pt x="0" y="0"/>
                </a:lnTo>
                <a:close/>
              </a:path>
            </a:pathLst>
          </a:custGeom>
          <a:solidFill>
            <a:srgbClr val="94C949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en-US" altLang="zh-CN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2024</a:t>
            </a: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年 </a:t>
            </a:r>
            <a:r>
              <a:rPr lang="en-US" altLang="zh-CN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· </a:t>
            </a: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夏</a:t>
            </a:r>
            <a:endParaRPr lang="en-US" sz="28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7" name="矩形 6"/>
          <p:cNvSpPr>
            <a:spLocks noChangeArrowheads="1"/>
          </p:cNvSpPr>
          <p:nvPr/>
        </p:nvSpPr>
        <p:spPr bwMode="auto">
          <a:xfrm>
            <a:off x="425094" y="2912460"/>
            <a:ext cx="4866986" cy="13480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Blip>
                <a:blip r:embed="rId7"/>
              </a:buBlip>
              <a:defRPr sz="28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▒"/>
              <a:defRPr kumimoji="1" sz="2400">
                <a:solidFill>
                  <a:srgbClr val="0000FF"/>
                </a:solidFill>
                <a:latin typeface="Arial Narrow" panose="020B0606020202030204" pitchFamily="34" charset="0"/>
                <a:ea typeface="华文楷体" panose="02010600040101010101" pitchFamily="2" charset="-122"/>
                <a:cs typeface="华文楷体" panose="02010600040101010101" pitchFamily="2" charset="-122"/>
              </a:defRPr>
            </a:lvl2pPr>
            <a:lvl3pPr marL="1143000" indent="-228600">
              <a:spcBef>
                <a:spcPct val="20000"/>
              </a:spcBef>
              <a:buBlip>
                <a:blip r:embed="rId8"/>
              </a:buBlip>
              <a:defRPr kumimoji="1" sz="2000">
                <a:solidFill>
                  <a:srgbClr val="E46C0A"/>
                </a:solidFill>
                <a:latin typeface="Arial Narrow" panose="020B0606020202030204" pitchFamily="34" charset="0"/>
                <a:ea typeface="华文仿宋" panose="02010600040101010101" pitchFamily="2" charset="-122"/>
                <a:cs typeface="华文仿宋" panose="0201060004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9pPr>
          </a:lstStyle>
          <a:p>
            <a:pPr algn="just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zh-CN" altLang="en-US" sz="1800" b="0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固态放大器</a:t>
            </a:r>
            <a:endParaRPr lang="en-US" altLang="zh-CN" sz="1800" b="0" dirty="0">
              <a:solidFill>
                <a:srgbClr val="E7B92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HB1/2</a:t>
            </a: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固放各有一个功放单元故障</a:t>
            </a:r>
            <a:r>
              <a:rPr lang="zh-CN" altLang="en-US" sz="16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完成</a:t>
            </a: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维修</a:t>
            </a:r>
            <a:endParaRPr lang="en-US" altLang="zh-CN" sz="1600" b="0" dirty="0">
              <a:solidFill>
                <a:srgbClr val="E7B92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120000"/>
              </a:lnSpc>
              <a:spcBef>
                <a:spcPct val="0"/>
              </a:spcBef>
              <a:buNone/>
            </a:pPr>
            <a:r>
              <a:rPr lang="zh-CN" altLang="en-US" sz="1800" b="0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低电平系统</a:t>
            </a:r>
            <a:endParaRPr lang="en-US" altLang="zh-CN" sz="1800" b="0" dirty="0">
              <a:solidFill>
                <a:srgbClr val="E7B92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无</a:t>
            </a:r>
            <a:endParaRPr lang="en-US" altLang="zh-CN" sz="16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5528127" y="2204864"/>
            <a:ext cx="3304428" cy="4411074"/>
            <a:chOff x="5612438" y="1785359"/>
            <a:chExt cx="3304428" cy="4411074"/>
          </a:xfrm>
        </p:grpSpPr>
        <p:pic>
          <p:nvPicPr>
            <p:cNvPr id="9" name="图片 8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5059115" y="2338682"/>
              <a:ext cx="4411074" cy="3304427"/>
            </a:xfrm>
            <a:prstGeom prst="rect">
              <a:avLst/>
            </a:prstGeom>
            <a:ln w="38100">
              <a:solidFill>
                <a:srgbClr val="F59600"/>
              </a:solidFill>
            </a:ln>
          </p:spPr>
        </p:pic>
        <p:sp>
          <p:nvSpPr>
            <p:cNvPr id="11" name="Rectangle 22"/>
            <p:cNvSpPr/>
            <p:nvPr>
              <p:custDataLst>
                <p:tags r:id="rId4"/>
              </p:custDataLst>
            </p:nvPr>
          </p:nvSpPr>
          <p:spPr bwMode="auto">
            <a:xfrm>
              <a:off x="7020272" y="1785359"/>
              <a:ext cx="1896594" cy="315907"/>
            </a:xfrm>
            <a:custGeom>
              <a:avLst/>
              <a:gdLst>
                <a:gd name="connsiteX0" fmla="*/ 0 w 1368152"/>
                <a:gd name="connsiteY0" fmla="*/ 0 h 324000"/>
                <a:gd name="connsiteX1" fmla="*/ 1368152 w 1368152"/>
                <a:gd name="connsiteY1" fmla="*/ 0 h 324000"/>
                <a:gd name="connsiteX2" fmla="*/ 1368152 w 1368152"/>
                <a:gd name="connsiteY2" fmla="*/ 324000 h 324000"/>
                <a:gd name="connsiteX3" fmla="*/ 0 w 1368152"/>
                <a:gd name="connsiteY3" fmla="*/ 324000 h 324000"/>
                <a:gd name="connsiteX4" fmla="*/ 0 w 1368152"/>
                <a:gd name="connsiteY4" fmla="*/ 0 h 324000"/>
                <a:gd name="connsiteX0-1" fmla="*/ 0 w 1368152"/>
                <a:gd name="connsiteY0-2" fmla="*/ 0 h 324000"/>
                <a:gd name="connsiteX1-3" fmla="*/ 1368152 w 1368152"/>
                <a:gd name="connsiteY1-4" fmla="*/ 0 h 324000"/>
                <a:gd name="connsiteX2-5" fmla="*/ 1368152 w 1368152"/>
                <a:gd name="connsiteY2-6" fmla="*/ 324000 h 324000"/>
                <a:gd name="connsiteX3-7" fmla="*/ 279400 w 1368152"/>
                <a:gd name="connsiteY3-8" fmla="*/ 324000 h 324000"/>
                <a:gd name="connsiteX4-9" fmla="*/ 0 w 1368152"/>
                <a:gd name="connsiteY4-10" fmla="*/ 0 h 32400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68152" h="324000">
                  <a:moveTo>
                    <a:pt x="0" y="0"/>
                  </a:moveTo>
                  <a:lnTo>
                    <a:pt x="1368152" y="0"/>
                  </a:lnTo>
                  <a:lnTo>
                    <a:pt x="1368152" y="324000"/>
                  </a:lnTo>
                  <a:lnTo>
                    <a:pt x="279400" y="324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9600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91428" tIns="137172" rIns="91428" bIns="45715" anchor="ctr"/>
            <a:lstStyle/>
            <a:p>
              <a:pPr lvl="1" algn="r" defTabSz="913765">
                <a:lnSpc>
                  <a:spcPct val="90000"/>
                </a:lnSpc>
                <a:spcBef>
                  <a:spcPts val="630"/>
                </a:spcBef>
                <a:buClr>
                  <a:schemeClr val="bg2">
                    <a:lumMod val="75000"/>
                  </a:schemeClr>
                </a:buClr>
                <a:buSzPct val="100000"/>
                <a:defRPr/>
              </a:pPr>
              <a:r>
                <a:rPr lang="en-US" altLang="zh-CN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SHB</a:t>
              </a:r>
              <a:r>
                <a:rPr lang="zh-CN" alt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固放检修</a:t>
              </a:r>
              <a:endPara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</p:grpSp>
      <p:sp>
        <p:nvSpPr>
          <p:cNvPr id="10" name="矩形 9"/>
          <p:cNvSpPr/>
          <p:nvPr/>
        </p:nvSpPr>
        <p:spPr>
          <a:xfrm>
            <a:off x="404732" y="1647853"/>
            <a:ext cx="5123395" cy="13111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altLang="zh-CN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HB1/2</a:t>
            </a:r>
            <a:r>
              <a:rPr lang="zh-CN" altLang="en-US" dirty="0">
                <a:solidFill>
                  <a:srgbClr val="E7B92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腔体更换</a:t>
            </a:r>
            <a:endParaRPr lang="en-US" altLang="zh-CN" dirty="0">
              <a:solidFill>
                <a:srgbClr val="E7B92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加工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HB1/2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腔（科烨公司）完成更换，检漏合格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恢复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水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电连接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微波在线低功率测试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高功率老练合格，运行稳定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3" name="组合 12"/>
          <p:cNvGrpSpPr/>
          <p:nvPr/>
        </p:nvGrpSpPr>
        <p:grpSpPr>
          <a:xfrm>
            <a:off x="683033" y="4260521"/>
            <a:ext cx="4321015" cy="2348641"/>
            <a:chOff x="2064257" y="4638422"/>
            <a:chExt cx="3719341" cy="1981499"/>
          </a:xfrm>
        </p:grpSpPr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064257" y="4638422"/>
              <a:ext cx="3719341" cy="1981499"/>
            </a:xfrm>
            <a:prstGeom prst="rect">
              <a:avLst/>
            </a:prstGeom>
            <a:solidFill>
              <a:srgbClr val="F59600"/>
            </a:solidFill>
            <a:ln w="38100">
              <a:solidFill>
                <a:srgbClr val="F59600"/>
              </a:solidFill>
            </a:ln>
          </p:spPr>
        </p:pic>
        <p:sp>
          <p:nvSpPr>
            <p:cNvPr id="12" name="Rectangle 22"/>
            <p:cNvSpPr/>
            <p:nvPr>
              <p:custDataLst>
                <p:tags r:id="rId3"/>
              </p:custDataLst>
            </p:nvPr>
          </p:nvSpPr>
          <p:spPr bwMode="auto">
            <a:xfrm>
              <a:off x="3862176" y="4638422"/>
              <a:ext cx="1921422" cy="270489"/>
            </a:xfrm>
            <a:custGeom>
              <a:avLst/>
              <a:gdLst>
                <a:gd name="connsiteX0" fmla="*/ 0 w 1368152"/>
                <a:gd name="connsiteY0" fmla="*/ 0 h 324000"/>
                <a:gd name="connsiteX1" fmla="*/ 1368152 w 1368152"/>
                <a:gd name="connsiteY1" fmla="*/ 0 h 324000"/>
                <a:gd name="connsiteX2" fmla="*/ 1368152 w 1368152"/>
                <a:gd name="connsiteY2" fmla="*/ 324000 h 324000"/>
                <a:gd name="connsiteX3" fmla="*/ 0 w 1368152"/>
                <a:gd name="connsiteY3" fmla="*/ 324000 h 324000"/>
                <a:gd name="connsiteX4" fmla="*/ 0 w 1368152"/>
                <a:gd name="connsiteY4" fmla="*/ 0 h 324000"/>
                <a:gd name="connsiteX0-1" fmla="*/ 0 w 1368152"/>
                <a:gd name="connsiteY0-2" fmla="*/ 0 h 324000"/>
                <a:gd name="connsiteX1-3" fmla="*/ 1368152 w 1368152"/>
                <a:gd name="connsiteY1-4" fmla="*/ 0 h 324000"/>
                <a:gd name="connsiteX2-5" fmla="*/ 1368152 w 1368152"/>
                <a:gd name="connsiteY2-6" fmla="*/ 324000 h 324000"/>
                <a:gd name="connsiteX3-7" fmla="*/ 279400 w 1368152"/>
                <a:gd name="connsiteY3-8" fmla="*/ 324000 h 324000"/>
                <a:gd name="connsiteX4-9" fmla="*/ 0 w 1368152"/>
                <a:gd name="connsiteY4-10" fmla="*/ 0 h 32400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68152" h="324000">
                  <a:moveTo>
                    <a:pt x="0" y="0"/>
                  </a:moveTo>
                  <a:lnTo>
                    <a:pt x="1368152" y="0"/>
                  </a:lnTo>
                  <a:lnTo>
                    <a:pt x="1368152" y="324000"/>
                  </a:lnTo>
                  <a:lnTo>
                    <a:pt x="279400" y="324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9600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91428" tIns="137172" rIns="91428" bIns="45715" anchor="ctr"/>
            <a:lstStyle/>
            <a:p>
              <a:pPr lvl="1" algn="r" defTabSz="913765">
                <a:lnSpc>
                  <a:spcPct val="90000"/>
                </a:lnSpc>
                <a:spcBef>
                  <a:spcPts val="630"/>
                </a:spcBef>
                <a:buClr>
                  <a:schemeClr val="bg2">
                    <a:lumMod val="75000"/>
                  </a:schemeClr>
                </a:buClr>
                <a:buSzPct val="100000"/>
                <a:defRPr/>
              </a:pPr>
              <a:r>
                <a:rPr lang="en-US" altLang="zh-CN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SHB1/2</a:t>
              </a:r>
              <a:r>
                <a:rPr lang="zh-CN" alt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安装后</a:t>
              </a:r>
              <a:endPara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141"/>
    </mc:Choice>
    <mc:Fallback xmlns="">
      <p:transition spd="slow" advTm="25141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暑期</a:t>
            </a:r>
            <a:r>
              <a:rPr lang="zh-CN" altLang="en-US" dirty="0" smtClean="0"/>
              <a:t>检修</a:t>
            </a:r>
            <a:endParaRPr lang="zh-CN" altLang="en-US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zh-CN" altLang="en-US" dirty="0"/>
          </a:p>
          <a:p>
            <a:endParaRPr lang="zh-CN" altLang="en-US" dirty="0"/>
          </a:p>
        </p:txBody>
      </p:sp>
      <p:sp>
        <p:nvSpPr>
          <p:cNvPr id="4" name="Rectangle 22"/>
          <p:cNvSpPr/>
          <p:nvPr>
            <p:custDataLst>
              <p:tags r:id="rId1"/>
            </p:custDataLst>
          </p:nvPr>
        </p:nvSpPr>
        <p:spPr bwMode="auto">
          <a:xfrm>
            <a:off x="0" y="1062262"/>
            <a:ext cx="4860032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8E499C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微波</a:t>
            </a:r>
            <a:r>
              <a:rPr lang="zh-CN" altLang="en-US" sz="28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激励系统</a:t>
            </a:r>
            <a:endParaRPr lang="en-US" altLang="zh-CN" sz="28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6" name="Rectangle 22"/>
          <p:cNvSpPr/>
          <p:nvPr>
            <p:custDataLst>
              <p:tags r:id="rId2"/>
            </p:custDataLst>
          </p:nvPr>
        </p:nvSpPr>
        <p:spPr bwMode="auto">
          <a:xfrm>
            <a:off x="4412282" y="1052738"/>
            <a:ext cx="4749180" cy="585589"/>
          </a:xfrm>
          <a:custGeom>
            <a:avLst/>
            <a:gdLst>
              <a:gd name="connsiteX0" fmla="*/ 0 w 4206255"/>
              <a:gd name="connsiteY0" fmla="*/ 0 h 576064"/>
              <a:gd name="connsiteX1" fmla="*/ 4206255 w 4206255"/>
              <a:gd name="connsiteY1" fmla="*/ 0 h 576064"/>
              <a:gd name="connsiteX2" fmla="*/ 4206255 w 4206255"/>
              <a:gd name="connsiteY2" fmla="*/ 576064 h 576064"/>
              <a:gd name="connsiteX3" fmla="*/ 0 w 4206255"/>
              <a:gd name="connsiteY3" fmla="*/ 576064 h 576064"/>
              <a:gd name="connsiteX4" fmla="*/ 0 w 4206255"/>
              <a:gd name="connsiteY4" fmla="*/ 0 h 576064"/>
              <a:gd name="connsiteX0-1" fmla="*/ 0 w 4749180"/>
              <a:gd name="connsiteY0-2" fmla="*/ 0 h 585589"/>
              <a:gd name="connsiteX1-3" fmla="*/ 4749180 w 4749180"/>
              <a:gd name="connsiteY1-4" fmla="*/ 9525 h 585589"/>
              <a:gd name="connsiteX2-5" fmla="*/ 4749180 w 4749180"/>
              <a:gd name="connsiteY2-6" fmla="*/ 585589 h 585589"/>
              <a:gd name="connsiteX3-7" fmla="*/ 542925 w 4749180"/>
              <a:gd name="connsiteY3-8" fmla="*/ 585589 h 585589"/>
              <a:gd name="connsiteX4-9" fmla="*/ 0 w 4749180"/>
              <a:gd name="connsiteY4-10" fmla="*/ 0 h 58558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749180" h="585589">
                <a:moveTo>
                  <a:pt x="0" y="0"/>
                </a:moveTo>
                <a:lnTo>
                  <a:pt x="4749180" y="9525"/>
                </a:lnTo>
                <a:lnTo>
                  <a:pt x="4749180" y="585589"/>
                </a:lnTo>
                <a:lnTo>
                  <a:pt x="542925" y="585589"/>
                </a:lnTo>
                <a:lnTo>
                  <a:pt x="0" y="0"/>
                </a:lnTo>
                <a:close/>
              </a:path>
            </a:pathLst>
          </a:cu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en-US" altLang="zh-CN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</a:t>
            </a:r>
            <a:r>
              <a:rPr lang="en-US" altLang="zh-CN" sz="28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2025</a:t>
            </a:r>
            <a:r>
              <a:rPr lang="zh-CN" altLang="en-US" sz="28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年 </a:t>
            </a:r>
            <a:r>
              <a:rPr lang="en-US" altLang="zh-CN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· </a:t>
            </a: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夏</a:t>
            </a:r>
            <a:endParaRPr lang="en-US" sz="28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7" name="矩形 6"/>
          <p:cNvSpPr>
            <a:spLocks noChangeArrowheads="1"/>
          </p:cNvSpPr>
          <p:nvPr/>
        </p:nvSpPr>
        <p:spPr bwMode="auto">
          <a:xfrm>
            <a:off x="320557" y="1671983"/>
            <a:ext cx="8597527" cy="485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rmAutofit/>
          </a:bodyPr>
          <a:lstStyle>
            <a:lvl1pPr>
              <a:spcBef>
                <a:spcPct val="20000"/>
              </a:spcBef>
              <a:buBlip>
                <a:blip r:embed="rId5"/>
              </a:buBlip>
              <a:defRPr sz="28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▒"/>
              <a:defRPr kumimoji="1" sz="2400">
                <a:solidFill>
                  <a:srgbClr val="0000FF"/>
                </a:solidFill>
                <a:latin typeface="Arial Narrow" panose="020B0606020202030204" pitchFamily="34" charset="0"/>
                <a:ea typeface="华文楷体" panose="02010600040101010101" pitchFamily="2" charset="-122"/>
                <a:cs typeface="华文楷体" panose="02010600040101010101" pitchFamily="2" charset="-122"/>
              </a:defRPr>
            </a:lvl2pPr>
            <a:lvl3pPr marL="1143000" indent="-228600">
              <a:spcBef>
                <a:spcPct val="20000"/>
              </a:spcBef>
              <a:buBlip>
                <a:blip r:embed="rId6"/>
              </a:buBlip>
              <a:defRPr kumimoji="1" sz="2000">
                <a:solidFill>
                  <a:srgbClr val="E46C0A"/>
                </a:solidFill>
                <a:latin typeface="Arial Narrow" panose="020B0606020202030204" pitchFamily="34" charset="0"/>
                <a:ea typeface="华文仿宋" panose="02010600040101010101" pitchFamily="2" charset="-122"/>
                <a:cs typeface="华文仿宋" panose="0201060004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9pPr>
          </a:lstStyle>
          <a:p>
            <a:pPr algn="just">
              <a:lnSpc>
                <a:spcPct val="200000"/>
              </a:lnSpc>
              <a:spcBef>
                <a:spcPct val="0"/>
              </a:spcBef>
              <a:buFontTx/>
              <a:buNone/>
            </a:pPr>
            <a:r>
              <a:rPr lang="zh-CN" altLang="en-US" sz="2000" b="0" dirty="0" smtClean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轮（</a:t>
            </a:r>
            <a:r>
              <a:rPr lang="en-US" altLang="zh-CN" sz="2000" b="0" dirty="0" smtClean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5</a:t>
            </a:r>
            <a:r>
              <a:rPr lang="zh-CN" altLang="en-US" sz="2000" b="0" dirty="0" smtClean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）暑期仅停机</a:t>
            </a:r>
            <a:r>
              <a:rPr lang="en-US" altLang="zh-CN" sz="2000" b="0" dirty="0" smtClean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000" b="0" dirty="0" smtClean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，无特殊检修工作</a:t>
            </a:r>
            <a:endParaRPr lang="en-US" altLang="zh-CN" sz="2000" b="0" dirty="0" smtClean="0">
              <a:solidFill>
                <a:srgbClr val="8E499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70486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141"/>
    </mc:Choice>
    <mc:Fallback xmlns="">
      <p:transition spd="slow" advTm="25141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暑期检修</a:t>
            </a:r>
          </a:p>
          <a:p>
            <a:endParaRPr lang="zh-CN" altLang="en-US" dirty="0"/>
          </a:p>
        </p:txBody>
      </p:sp>
      <p:sp>
        <p:nvSpPr>
          <p:cNvPr id="4" name="Rectangle 22"/>
          <p:cNvSpPr/>
          <p:nvPr>
            <p:custDataLst>
              <p:tags r:id="rId1"/>
            </p:custDataLst>
          </p:nvPr>
        </p:nvSpPr>
        <p:spPr bwMode="auto">
          <a:xfrm>
            <a:off x="0" y="1062262"/>
            <a:ext cx="4860032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8E499C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微波功率采集与传输系统</a:t>
            </a:r>
            <a:endParaRPr lang="en-US" altLang="zh-CN" sz="28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6" name="Rectangle 22"/>
          <p:cNvSpPr/>
          <p:nvPr>
            <p:custDataLst>
              <p:tags r:id="rId2"/>
            </p:custDataLst>
          </p:nvPr>
        </p:nvSpPr>
        <p:spPr bwMode="auto">
          <a:xfrm>
            <a:off x="4412282" y="1052738"/>
            <a:ext cx="4749180" cy="585589"/>
          </a:xfrm>
          <a:custGeom>
            <a:avLst/>
            <a:gdLst>
              <a:gd name="connsiteX0" fmla="*/ 0 w 4206255"/>
              <a:gd name="connsiteY0" fmla="*/ 0 h 576064"/>
              <a:gd name="connsiteX1" fmla="*/ 4206255 w 4206255"/>
              <a:gd name="connsiteY1" fmla="*/ 0 h 576064"/>
              <a:gd name="connsiteX2" fmla="*/ 4206255 w 4206255"/>
              <a:gd name="connsiteY2" fmla="*/ 576064 h 576064"/>
              <a:gd name="connsiteX3" fmla="*/ 0 w 4206255"/>
              <a:gd name="connsiteY3" fmla="*/ 576064 h 576064"/>
              <a:gd name="connsiteX4" fmla="*/ 0 w 4206255"/>
              <a:gd name="connsiteY4" fmla="*/ 0 h 576064"/>
              <a:gd name="connsiteX0-1" fmla="*/ 0 w 4749180"/>
              <a:gd name="connsiteY0-2" fmla="*/ 0 h 585589"/>
              <a:gd name="connsiteX1-3" fmla="*/ 4749180 w 4749180"/>
              <a:gd name="connsiteY1-4" fmla="*/ 9525 h 585589"/>
              <a:gd name="connsiteX2-5" fmla="*/ 4749180 w 4749180"/>
              <a:gd name="connsiteY2-6" fmla="*/ 585589 h 585589"/>
              <a:gd name="connsiteX3-7" fmla="*/ 542925 w 4749180"/>
              <a:gd name="connsiteY3-8" fmla="*/ 585589 h 585589"/>
              <a:gd name="connsiteX4-9" fmla="*/ 0 w 4749180"/>
              <a:gd name="connsiteY4-10" fmla="*/ 0 h 58558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749180" h="585589">
                <a:moveTo>
                  <a:pt x="0" y="0"/>
                </a:moveTo>
                <a:lnTo>
                  <a:pt x="4749180" y="9525"/>
                </a:lnTo>
                <a:lnTo>
                  <a:pt x="4749180" y="585589"/>
                </a:lnTo>
                <a:lnTo>
                  <a:pt x="542925" y="585589"/>
                </a:lnTo>
                <a:lnTo>
                  <a:pt x="0" y="0"/>
                </a:lnTo>
                <a:close/>
              </a:path>
            </a:pathLst>
          </a:cu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en-US" altLang="zh-CN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</a:t>
            </a:r>
            <a:r>
              <a:rPr lang="en-US" altLang="zh-CN" sz="28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2025</a:t>
            </a:r>
            <a:r>
              <a:rPr lang="zh-CN" altLang="en-US" sz="28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年 </a:t>
            </a:r>
            <a:r>
              <a:rPr lang="en-US" altLang="zh-CN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· </a:t>
            </a: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夏</a:t>
            </a:r>
            <a:endParaRPr lang="en-US" sz="28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8" name="矩形 7"/>
          <p:cNvSpPr>
            <a:spLocks noChangeArrowheads="1"/>
          </p:cNvSpPr>
          <p:nvPr/>
        </p:nvSpPr>
        <p:spPr bwMode="auto">
          <a:xfrm>
            <a:off x="523850" y="1772818"/>
            <a:ext cx="5128270" cy="4693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Blip>
                <a:blip r:embed="rId6"/>
              </a:buBlip>
              <a:defRPr sz="28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▒"/>
              <a:defRPr kumimoji="1" sz="2400">
                <a:solidFill>
                  <a:srgbClr val="0000FF"/>
                </a:solidFill>
                <a:latin typeface="Arial Narrow" panose="020B0606020202030204" pitchFamily="34" charset="0"/>
                <a:ea typeface="华文楷体" panose="02010600040101010101" pitchFamily="2" charset="-122"/>
                <a:cs typeface="华文楷体" panose="02010600040101010101" pitchFamily="2" charset="-122"/>
              </a:defRPr>
            </a:lvl2pPr>
            <a:lvl3pPr marL="1143000" indent="-228600">
              <a:spcBef>
                <a:spcPct val="20000"/>
              </a:spcBef>
              <a:buBlip>
                <a:blip r:embed="rId7"/>
              </a:buBlip>
              <a:defRPr kumimoji="1" sz="2000">
                <a:solidFill>
                  <a:srgbClr val="E46C0A"/>
                </a:solidFill>
                <a:latin typeface="Arial Narrow" panose="020B0606020202030204" pitchFamily="34" charset="0"/>
                <a:ea typeface="华文仿宋" panose="02010600040101010101" pitchFamily="2" charset="-122"/>
                <a:cs typeface="华文仿宋" panose="0201060004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9pPr>
          </a:lstStyle>
          <a:p>
            <a:pPr algn="just">
              <a:lnSpc>
                <a:spcPct val="130000"/>
              </a:lnSpc>
              <a:spcBef>
                <a:spcPct val="0"/>
              </a:spcBef>
              <a:buFontTx/>
              <a:buNone/>
            </a:pPr>
            <a:r>
              <a:rPr lang="zh-CN" altLang="en-US" sz="2400" b="0" dirty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能量倍增器</a:t>
            </a:r>
            <a:endParaRPr lang="en-US" altLang="zh-CN" sz="2400" b="0" dirty="0">
              <a:solidFill>
                <a:srgbClr val="8E499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3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无</a:t>
            </a:r>
            <a:endParaRPr lang="en-US" altLang="zh-CN" sz="20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130000"/>
              </a:lnSpc>
              <a:spcBef>
                <a:spcPct val="0"/>
              </a:spcBef>
              <a:buFontTx/>
              <a:buNone/>
            </a:pPr>
            <a:endParaRPr lang="en-US" altLang="zh-CN" sz="2000" b="0" dirty="0">
              <a:solidFill>
                <a:srgbClr val="E7B92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130000"/>
              </a:lnSpc>
              <a:spcBef>
                <a:spcPct val="0"/>
              </a:spcBef>
              <a:buFontTx/>
              <a:buNone/>
            </a:pPr>
            <a:r>
              <a:rPr lang="zh-CN" altLang="en-US" sz="2400" b="0" dirty="0" smtClean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速调管</a:t>
            </a:r>
            <a:endParaRPr lang="en-US" altLang="zh-CN" sz="2400" b="0" dirty="0">
              <a:solidFill>
                <a:srgbClr val="8E499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3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K9A   </a:t>
            </a:r>
            <a:r>
              <a:rPr lang="zh-CN" alt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更换国产管</a:t>
            </a:r>
            <a:endParaRPr lang="en-US" altLang="zh-CN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3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K11A </a:t>
            </a:r>
            <a:r>
              <a:rPr lang="zh-CN" alt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更换日本管</a:t>
            </a:r>
            <a:endParaRPr lang="en-US" altLang="zh-CN" sz="2000" b="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3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K13    </a:t>
            </a:r>
            <a:r>
              <a:rPr lang="zh-CN" altLang="en-US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更换国产管（</a:t>
            </a:r>
            <a:r>
              <a:rPr lang="en-US" altLang="zh-CN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25.09</a:t>
            </a:r>
            <a:r>
              <a:rPr lang="zh-CN" altLang="en-US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运行期间）</a:t>
            </a:r>
            <a:endParaRPr lang="en-US" altLang="zh-CN" sz="2000" b="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3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altLang="zh-CN" sz="20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130000"/>
              </a:lnSpc>
              <a:spcBef>
                <a:spcPct val="0"/>
              </a:spcBef>
              <a:buFontTx/>
              <a:buNone/>
            </a:pPr>
            <a:r>
              <a:rPr lang="zh-CN" altLang="en-US" sz="2400" b="0" dirty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其它</a:t>
            </a:r>
            <a:endParaRPr lang="en-US" altLang="zh-CN" sz="2400" b="0" dirty="0">
              <a:solidFill>
                <a:srgbClr val="8E499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13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K6A</a:t>
            </a:r>
            <a:r>
              <a:rPr lang="zh-CN" altLang="en-US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隧道内波导水管漏水处理</a:t>
            </a:r>
            <a:endParaRPr lang="en-US" altLang="zh-CN" sz="2000" b="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algn="just">
              <a:lnSpc>
                <a:spcPct val="13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zh-CN" altLang="en-US" sz="18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一处重接</a:t>
            </a:r>
            <a:r>
              <a:rPr lang="en-US" altLang="zh-CN" sz="18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8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一处补胶，均能正常运行</a:t>
            </a:r>
            <a:endParaRPr lang="en-US" altLang="zh-CN" sz="18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5796136" y="1898370"/>
            <a:ext cx="2874948" cy="4599533"/>
            <a:chOff x="5796136" y="1898370"/>
            <a:chExt cx="2874948" cy="4599533"/>
          </a:xfrm>
        </p:grpSpPr>
        <p:sp>
          <p:nvSpPr>
            <p:cNvPr id="10" name="Rectangle 22"/>
            <p:cNvSpPr/>
            <p:nvPr>
              <p:custDataLst>
                <p:tags r:id="rId3"/>
              </p:custDataLst>
            </p:nvPr>
          </p:nvSpPr>
          <p:spPr bwMode="auto">
            <a:xfrm>
              <a:off x="6294820" y="6120435"/>
              <a:ext cx="2376264" cy="377468"/>
            </a:xfrm>
            <a:custGeom>
              <a:avLst/>
              <a:gdLst>
                <a:gd name="connsiteX0" fmla="*/ 0 w 1368152"/>
                <a:gd name="connsiteY0" fmla="*/ 0 h 324000"/>
                <a:gd name="connsiteX1" fmla="*/ 1368152 w 1368152"/>
                <a:gd name="connsiteY1" fmla="*/ 0 h 324000"/>
                <a:gd name="connsiteX2" fmla="*/ 1368152 w 1368152"/>
                <a:gd name="connsiteY2" fmla="*/ 324000 h 324000"/>
                <a:gd name="connsiteX3" fmla="*/ 0 w 1368152"/>
                <a:gd name="connsiteY3" fmla="*/ 324000 h 324000"/>
                <a:gd name="connsiteX4" fmla="*/ 0 w 1368152"/>
                <a:gd name="connsiteY4" fmla="*/ 0 h 324000"/>
                <a:gd name="connsiteX0-1" fmla="*/ 0 w 1368152"/>
                <a:gd name="connsiteY0-2" fmla="*/ 0 h 324000"/>
                <a:gd name="connsiteX1-3" fmla="*/ 1368152 w 1368152"/>
                <a:gd name="connsiteY1-4" fmla="*/ 0 h 324000"/>
                <a:gd name="connsiteX2-5" fmla="*/ 1368152 w 1368152"/>
                <a:gd name="connsiteY2-6" fmla="*/ 324000 h 324000"/>
                <a:gd name="connsiteX3-7" fmla="*/ 279400 w 1368152"/>
                <a:gd name="connsiteY3-8" fmla="*/ 324000 h 324000"/>
                <a:gd name="connsiteX4-9" fmla="*/ 0 w 1368152"/>
                <a:gd name="connsiteY4-10" fmla="*/ 0 h 32400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68152" h="324000">
                  <a:moveTo>
                    <a:pt x="0" y="0"/>
                  </a:moveTo>
                  <a:lnTo>
                    <a:pt x="1368152" y="0"/>
                  </a:lnTo>
                  <a:lnTo>
                    <a:pt x="1368152" y="324000"/>
                  </a:lnTo>
                  <a:lnTo>
                    <a:pt x="279400" y="324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E499C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91428" tIns="137172" rIns="91428" bIns="45715" anchor="ctr"/>
            <a:lstStyle/>
            <a:p>
              <a:pPr algn="r" defTabSz="913765">
                <a:lnSpc>
                  <a:spcPct val="90000"/>
                </a:lnSpc>
                <a:spcBef>
                  <a:spcPts val="630"/>
                </a:spcBef>
                <a:buClr>
                  <a:schemeClr val="bg2">
                    <a:lumMod val="75000"/>
                  </a:schemeClr>
                </a:buClr>
                <a:buSzPct val="100000"/>
                <a:defRPr/>
              </a:pPr>
              <a:r>
                <a:rPr lang="en-US" altLang="zh-CN" sz="1600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K9A</a:t>
              </a:r>
              <a:r>
                <a:rPr lang="zh-CN" altLang="en-US" sz="1600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新装国产速调管</a:t>
              </a:r>
              <a:endPara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796136" y="1898370"/>
              <a:ext cx="2841630" cy="4222065"/>
            </a:xfrm>
            <a:prstGeom prst="rect">
              <a:avLst/>
            </a:prstGeom>
            <a:ln w="38100">
              <a:solidFill>
                <a:srgbClr val="9900FF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2875314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141"/>
    </mc:Choice>
    <mc:Fallback xmlns="">
      <p:transition spd="slow" advTm="25141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暑期检修</a:t>
            </a:r>
          </a:p>
          <a:p>
            <a:endParaRPr lang="zh-CN" altLang="en-US" dirty="0"/>
          </a:p>
        </p:txBody>
      </p:sp>
      <p:sp>
        <p:nvSpPr>
          <p:cNvPr id="4" name="Rectangle 22"/>
          <p:cNvSpPr/>
          <p:nvPr>
            <p:custDataLst>
              <p:tags r:id="rId1"/>
            </p:custDataLst>
          </p:nvPr>
        </p:nvSpPr>
        <p:spPr bwMode="auto">
          <a:xfrm>
            <a:off x="0" y="1062262"/>
            <a:ext cx="4860032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8E499C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低电平</a:t>
            </a:r>
            <a:r>
              <a:rPr lang="zh-CN" altLang="en-US" sz="28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系统</a:t>
            </a:r>
            <a:endParaRPr lang="en-US" altLang="zh-CN" sz="28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6" name="Rectangle 22"/>
          <p:cNvSpPr/>
          <p:nvPr>
            <p:custDataLst>
              <p:tags r:id="rId2"/>
            </p:custDataLst>
          </p:nvPr>
        </p:nvSpPr>
        <p:spPr bwMode="auto">
          <a:xfrm>
            <a:off x="4412282" y="1052738"/>
            <a:ext cx="4749180" cy="585589"/>
          </a:xfrm>
          <a:custGeom>
            <a:avLst/>
            <a:gdLst>
              <a:gd name="connsiteX0" fmla="*/ 0 w 4206255"/>
              <a:gd name="connsiteY0" fmla="*/ 0 h 576064"/>
              <a:gd name="connsiteX1" fmla="*/ 4206255 w 4206255"/>
              <a:gd name="connsiteY1" fmla="*/ 0 h 576064"/>
              <a:gd name="connsiteX2" fmla="*/ 4206255 w 4206255"/>
              <a:gd name="connsiteY2" fmla="*/ 576064 h 576064"/>
              <a:gd name="connsiteX3" fmla="*/ 0 w 4206255"/>
              <a:gd name="connsiteY3" fmla="*/ 576064 h 576064"/>
              <a:gd name="connsiteX4" fmla="*/ 0 w 4206255"/>
              <a:gd name="connsiteY4" fmla="*/ 0 h 576064"/>
              <a:gd name="connsiteX0-1" fmla="*/ 0 w 4749180"/>
              <a:gd name="connsiteY0-2" fmla="*/ 0 h 585589"/>
              <a:gd name="connsiteX1-3" fmla="*/ 4749180 w 4749180"/>
              <a:gd name="connsiteY1-4" fmla="*/ 9525 h 585589"/>
              <a:gd name="connsiteX2-5" fmla="*/ 4749180 w 4749180"/>
              <a:gd name="connsiteY2-6" fmla="*/ 585589 h 585589"/>
              <a:gd name="connsiteX3-7" fmla="*/ 542925 w 4749180"/>
              <a:gd name="connsiteY3-8" fmla="*/ 585589 h 585589"/>
              <a:gd name="connsiteX4-9" fmla="*/ 0 w 4749180"/>
              <a:gd name="connsiteY4-10" fmla="*/ 0 h 58558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749180" h="585589">
                <a:moveTo>
                  <a:pt x="0" y="0"/>
                </a:moveTo>
                <a:lnTo>
                  <a:pt x="4749180" y="9525"/>
                </a:lnTo>
                <a:lnTo>
                  <a:pt x="4749180" y="585589"/>
                </a:lnTo>
                <a:lnTo>
                  <a:pt x="542925" y="585589"/>
                </a:lnTo>
                <a:lnTo>
                  <a:pt x="0" y="0"/>
                </a:lnTo>
                <a:close/>
              </a:path>
            </a:pathLst>
          </a:cu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en-US" altLang="zh-CN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</a:t>
            </a:r>
            <a:r>
              <a:rPr lang="en-US" altLang="zh-CN" sz="28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2025</a:t>
            </a:r>
            <a:r>
              <a:rPr lang="zh-CN" altLang="en-US" sz="28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年 </a:t>
            </a:r>
            <a:r>
              <a:rPr lang="en-US" altLang="zh-CN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· </a:t>
            </a: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夏</a:t>
            </a:r>
            <a:endParaRPr lang="en-US" sz="28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11" name="矩形 10"/>
          <p:cNvSpPr>
            <a:spLocks noChangeArrowheads="1"/>
          </p:cNvSpPr>
          <p:nvPr/>
        </p:nvSpPr>
        <p:spPr bwMode="auto">
          <a:xfrm>
            <a:off x="320557" y="1671983"/>
            <a:ext cx="8597527" cy="485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rmAutofit/>
          </a:bodyPr>
          <a:lstStyle>
            <a:lvl1pPr>
              <a:spcBef>
                <a:spcPct val="20000"/>
              </a:spcBef>
              <a:buBlip>
                <a:blip r:embed="rId5"/>
              </a:buBlip>
              <a:defRPr sz="28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▒"/>
              <a:defRPr kumimoji="1" sz="2400">
                <a:solidFill>
                  <a:srgbClr val="0000FF"/>
                </a:solidFill>
                <a:latin typeface="Arial Narrow" panose="020B0606020202030204" pitchFamily="34" charset="0"/>
                <a:ea typeface="华文楷体" panose="02010600040101010101" pitchFamily="2" charset="-122"/>
                <a:cs typeface="华文楷体" panose="02010600040101010101" pitchFamily="2" charset="-122"/>
              </a:defRPr>
            </a:lvl2pPr>
            <a:lvl3pPr marL="1143000" indent="-228600">
              <a:spcBef>
                <a:spcPct val="20000"/>
              </a:spcBef>
              <a:buBlip>
                <a:blip r:embed="rId6"/>
              </a:buBlip>
              <a:defRPr kumimoji="1" sz="2000">
                <a:solidFill>
                  <a:srgbClr val="E46C0A"/>
                </a:solidFill>
                <a:latin typeface="Arial Narrow" panose="020B0606020202030204" pitchFamily="34" charset="0"/>
                <a:ea typeface="华文仿宋" panose="02010600040101010101" pitchFamily="2" charset="-122"/>
                <a:cs typeface="华文仿宋" panose="0201060004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9pPr>
          </a:lstStyle>
          <a:p>
            <a:pPr algn="just">
              <a:lnSpc>
                <a:spcPct val="200000"/>
              </a:lnSpc>
              <a:spcBef>
                <a:spcPct val="0"/>
              </a:spcBef>
              <a:buFontTx/>
              <a:buNone/>
            </a:pPr>
            <a:r>
              <a:rPr lang="zh-CN" altLang="en-US" sz="2000" b="0" dirty="0" smtClean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轮（</a:t>
            </a:r>
            <a:r>
              <a:rPr lang="en-US" altLang="zh-CN" sz="2000" b="0" dirty="0" smtClean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5</a:t>
            </a:r>
            <a:r>
              <a:rPr lang="zh-CN" altLang="en-US" sz="2000" b="0" dirty="0" smtClean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）暑期仅停机</a:t>
            </a:r>
            <a:r>
              <a:rPr lang="en-US" altLang="zh-CN" sz="2000" b="0" dirty="0" smtClean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000" b="0" dirty="0" smtClean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，仅软硬件维护与机柜整理</a:t>
            </a:r>
            <a:endParaRPr lang="en-US" altLang="zh-CN" sz="2000" b="0" dirty="0" smtClean="0">
              <a:solidFill>
                <a:srgbClr val="8E499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21224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141"/>
    </mc:Choice>
    <mc:Fallback xmlns="">
      <p:transition spd="slow" advTm="25141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暑期检修</a:t>
            </a:r>
          </a:p>
          <a:p>
            <a:endParaRPr lang="zh-CN" altLang="en-US" dirty="0"/>
          </a:p>
        </p:txBody>
      </p:sp>
      <p:sp>
        <p:nvSpPr>
          <p:cNvPr id="4" name="Rectangle 22"/>
          <p:cNvSpPr/>
          <p:nvPr>
            <p:custDataLst>
              <p:tags r:id="rId1"/>
            </p:custDataLst>
          </p:nvPr>
        </p:nvSpPr>
        <p:spPr bwMode="auto">
          <a:xfrm>
            <a:off x="0" y="1062262"/>
            <a:ext cx="4860032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8E499C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次谐波系统</a:t>
            </a:r>
            <a:endParaRPr lang="en-US" altLang="zh-CN" sz="28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6" name="Rectangle 22"/>
          <p:cNvSpPr/>
          <p:nvPr>
            <p:custDataLst>
              <p:tags r:id="rId2"/>
            </p:custDataLst>
          </p:nvPr>
        </p:nvSpPr>
        <p:spPr bwMode="auto">
          <a:xfrm>
            <a:off x="4412282" y="1052738"/>
            <a:ext cx="4749180" cy="585589"/>
          </a:xfrm>
          <a:custGeom>
            <a:avLst/>
            <a:gdLst>
              <a:gd name="connsiteX0" fmla="*/ 0 w 4206255"/>
              <a:gd name="connsiteY0" fmla="*/ 0 h 576064"/>
              <a:gd name="connsiteX1" fmla="*/ 4206255 w 4206255"/>
              <a:gd name="connsiteY1" fmla="*/ 0 h 576064"/>
              <a:gd name="connsiteX2" fmla="*/ 4206255 w 4206255"/>
              <a:gd name="connsiteY2" fmla="*/ 576064 h 576064"/>
              <a:gd name="connsiteX3" fmla="*/ 0 w 4206255"/>
              <a:gd name="connsiteY3" fmla="*/ 576064 h 576064"/>
              <a:gd name="connsiteX4" fmla="*/ 0 w 4206255"/>
              <a:gd name="connsiteY4" fmla="*/ 0 h 576064"/>
              <a:gd name="connsiteX0-1" fmla="*/ 0 w 4749180"/>
              <a:gd name="connsiteY0-2" fmla="*/ 0 h 585589"/>
              <a:gd name="connsiteX1-3" fmla="*/ 4749180 w 4749180"/>
              <a:gd name="connsiteY1-4" fmla="*/ 9525 h 585589"/>
              <a:gd name="connsiteX2-5" fmla="*/ 4749180 w 4749180"/>
              <a:gd name="connsiteY2-6" fmla="*/ 585589 h 585589"/>
              <a:gd name="connsiteX3-7" fmla="*/ 542925 w 4749180"/>
              <a:gd name="connsiteY3-8" fmla="*/ 585589 h 585589"/>
              <a:gd name="connsiteX4-9" fmla="*/ 0 w 4749180"/>
              <a:gd name="connsiteY4-10" fmla="*/ 0 h 58558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749180" h="585589">
                <a:moveTo>
                  <a:pt x="0" y="0"/>
                </a:moveTo>
                <a:lnTo>
                  <a:pt x="4749180" y="9525"/>
                </a:lnTo>
                <a:lnTo>
                  <a:pt x="4749180" y="585589"/>
                </a:lnTo>
                <a:lnTo>
                  <a:pt x="542925" y="585589"/>
                </a:lnTo>
                <a:lnTo>
                  <a:pt x="0" y="0"/>
                </a:lnTo>
                <a:close/>
              </a:path>
            </a:pathLst>
          </a:cu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en-US" altLang="zh-CN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</a:t>
            </a:r>
            <a:r>
              <a:rPr lang="en-US" altLang="zh-CN" sz="28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2025</a:t>
            </a:r>
            <a:r>
              <a:rPr lang="zh-CN" altLang="en-US" sz="28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年 </a:t>
            </a:r>
            <a:r>
              <a:rPr lang="en-US" altLang="zh-CN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· </a:t>
            </a: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夏</a:t>
            </a:r>
            <a:endParaRPr lang="en-US" sz="28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7" name="矩形 6"/>
          <p:cNvSpPr>
            <a:spLocks noChangeArrowheads="1"/>
          </p:cNvSpPr>
          <p:nvPr/>
        </p:nvSpPr>
        <p:spPr bwMode="auto">
          <a:xfrm>
            <a:off x="320557" y="1671982"/>
            <a:ext cx="8596311" cy="319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Blip>
                <a:blip r:embed="rId5"/>
              </a:buBlip>
              <a:defRPr sz="28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▒"/>
              <a:defRPr kumimoji="1" sz="2400">
                <a:solidFill>
                  <a:srgbClr val="0000FF"/>
                </a:solidFill>
                <a:latin typeface="Arial Narrow" panose="020B0606020202030204" pitchFamily="34" charset="0"/>
                <a:ea typeface="华文楷体" panose="02010600040101010101" pitchFamily="2" charset="-122"/>
                <a:cs typeface="华文楷体" panose="02010600040101010101" pitchFamily="2" charset="-122"/>
              </a:defRPr>
            </a:lvl2pPr>
            <a:lvl3pPr marL="1143000" indent="-228600">
              <a:spcBef>
                <a:spcPct val="20000"/>
              </a:spcBef>
              <a:buBlip>
                <a:blip r:embed="rId6"/>
              </a:buBlip>
              <a:defRPr kumimoji="1" sz="2000">
                <a:solidFill>
                  <a:srgbClr val="E46C0A"/>
                </a:solidFill>
                <a:latin typeface="Arial Narrow" panose="020B0606020202030204" pitchFamily="34" charset="0"/>
                <a:ea typeface="华文仿宋" panose="02010600040101010101" pitchFamily="2" charset="-122"/>
                <a:cs typeface="华文仿宋" panose="0201060004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9pPr>
          </a:lstStyle>
          <a:p>
            <a:pPr algn="just">
              <a:lnSpc>
                <a:spcPct val="130000"/>
              </a:lnSpc>
              <a:spcBef>
                <a:spcPct val="0"/>
              </a:spcBef>
              <a:buNone/>
            </a:pPr>
            <a:r>
              <a:rPr lang="zh-CN" altLang="en-US" sz="2400" b="0" dirty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次谐波腔体</a:t>
            </a:r>
            <a:endParaRPr lang="en-US" altLang="zh-CN" sz="2400" b="0" dirty="0">
              <a:solidFill>
                <a:srgbClr val="8E499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20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无</a:t>
            </a:r>
            <a:endParaRPr lang="en-US" altLang="zh-CN" sz="18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130000"/>
              </a:lnSpc>
              <a:spcBef>
                <a:spcPct val="0"/>
              </a:spcBef>
              <a:buNone/>
            </a:pPr>
            <a:r>
              <a:rPr lang="zh-CN" altLang="en-US" sz="2400" b="0" dirty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低电平系统</a:t>
            </a:r>
            <a:endParaRPr lang="en-US" altLang="zh-CN" sz="2400" b="0" dirty="0">
              <a:solidFill>
                <a:srgbClr val="8E499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20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完成例行维护</a:t>
            </a:r>
            <a:endParaRPr lang="en-US" altLang="zh-CN" sz="18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130000"/>
              </a:lnSpc>
              <a:spcBef>
                <a:spcPct val="0"/>
              </a:spcBef>
              <a:buNone/>
            </a:pPr>
            <a:r>
              <a:rPr lang="zh-CN" altLang="en-US" sz="2400" b="0" dirty="0">
                <a:solidFill>
                  <a:srgbClr val="8E499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其它</a:t>
            </a:r>
            <a:endParaRPr lang="en-US" altLang="zh-CN" sz="2400" b="0" dirty="0">
              <a:solidFill>
                <a:srgbClr val="8E499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lnSpc>
                <a:spcPct val="20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完成固放例行维护等</a:t>
            </a:r>
            <a:endParaRPr lang="en-US" altLang="zh-CN" sz="18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13938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141"/>
    </mc:Choice>
    <mc:Fallback xmlns="">
      <p:transition spd="slow" advTm="25141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微波系统本轮运行总揽</a:t>
            </a:r>
          </a:p>
        </p:txBody>
      </p:sp>
      <p:sp>
        <p:nvSpPr>
          <p:cNvPr id="10" name="Rectangle 22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347352" y="1648474"/>
            <a:ext cx="2546666" cy="994996"/>
          </a:xfrm>
          <a:prstGeom prst="rect">
            <a:avLst/>
          </a:pr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ctr" anchorCtr="0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微波激励系统</a:t>
            </a:r>
            <a:endParaRPr lang="en-US" altLang="zh-CN" sz="28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16" name="Rectangle 22"/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4716018" y="1648474"/>
            <a:ext cx="2875541" cy="994996"/>
          </a:xfrm>
          <a:prstGeom prst="rect">
            <a:avLst/>
          </a:pr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</a:pP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微波功率采集与传输系统</a:t>
            </a:r>
            <a:endParaRPr lang="en-US" altLang="zh-CN" sz="28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18" name="Rectangle 22"/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>
            <a:off x="1332038" y="4264076"/>
            <a:ext cx="2555485" cy="893116"/>
          </a:xfrm>
          <a:prstGeom prst="rect">
            <a:avLst/>
          </a:pr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t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endParaRPr lang="en-US" altLang="zh-CN" sz="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低电平系统</a:t>
            </a:r>
            <a:endParaRPr lang="en-US" altLang="zh-CN" sz="28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19" name="Rectangle 22"/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4716017" y="4264076"/>
            <a:ext cx="2875541" cy="893116"/>
          </a:xfrm>
          <a:prstGeom prst="rect">
            <a:avLst/>
          </a:pr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t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endParaRPr lang="en-US" altLang="zh-CN" sz="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次谐波系统</a:t>
            </a:r>
            <a:endParaRPr lang="en-US" altLang="zh-CN" sz="28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3894020" y="2132856"/>
            <a:ext cx="82199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3887523" y="4725144"/>
            <a:ext cx="82199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2555776" y="2643470"/>
            <a:ext cx="0" cy="162060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/>
        </p:nvCxnSpPr>
        <p:spPr>
          <a:xfrm>
            <a:off x="6156176" y="2643470"/>
            <a:ext cx="0" cy="162060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>
            <a:off x="3894018" y="2643470"/>
            <a:ext cx="815500" cy="162060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/>
        </p:nvCxnSpPr>
        <p:spPr>
          <a:xfrm flipH="1">
            <a:off x="3887523" y="2643470"/>
            <a:ext cx="821997" cy="162060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主要内容</a:t>
            </a:r>
          </a:p>
        </p:txBody>
      </p:sp>
      <p:sp>
        <p:nvSpPr>
          <p:cNvPr id="5" name="矩形 4"/>
          <p:cNvSpPr>
            <a:spLocks noChangeAspect="1"/>
          </p:cNvSpPr>
          <p:nvPr/>
        </p:nvSpPr>
        <p:spPr>
          <a:xfrm>
            <a:off x="3059832" y="1412776"/>
            <a:ext cx="4032448" cy="936104"/>
          </a:xfrm>
          <a:prstGeom prst="rect">
            <a:avLst/>
          </a:prstGeom>
          <a:solidFill>
            <a:srgbClr val="558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400" b="1" spc="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运行总揽</a:t>
            </a:r>
          </a:p>
        </p:txBody>
      </p:sp>
      <p:sp>
        <p:nvSpPr>
          <p:cNvPr id="7" name="矩形 6"/>
          <p:cNvSpPr>
            <a:spLocks noChangeAspect="1"/>
          </p:cNvSpPr>
          <p:nvPr/>
        </p:nvSpPr>
        <p:spPr>
          <a:xfrm>
            <a:off x="3059832" y="2636912"/>
            <a:ext cx="4032448" cy="936104"/>
          </a:xfrm>
          <a:prstGeom prst="rect">
            <a:avLst/>
          </a:prstGeom>
          <a:solidFill>
            <a:srgbClr val="558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400" b="1" spc="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项介绍</a:t>
            </a:r>
          </a:p>
        </p:txBody>
      </p:sp>
      <p:sp>
        <p:nvSpPr>
          <p:cNvPr id="9" name="矩形 8"/>
          <p:cNvSpPr>
            <a:spLocks noChangeAspect="1"/>
          </p:cNvSpPr>
          <p:nvPr/>
        </p:nvSpPr>
        <p:spPr>
          <a:xfrm>
            <a:off x="3059832" y="3861048"/>
            <a:ext cx="4032448" cy="936104"/>
          </a:xfrm>
          <a:prstGeom prst="rect">
            <a:avLst/>
          </a:prstGeom>
          <a:solidFill>
            <a:srgbClr val="558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400" b="1" spc="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暑期检修</a:t>
            </a:r>
          </a:p>
        </p:txBody>
      </p:sp>
      <p:sp>
        <p:nvSpPr>
          <p:cNvPr id="11" name="矩形 10"/>
          <p:cNvSpPr>
            <a:spLocks noChangeAspect="1"/>
          </p:cNvSpPr>
          <p:nvPr/>
        </p:nvSpPr>
        <p:spPr>
          <a:xfrm>
            <a:off x="3059832" y="5085184"/>
            <a:ext cx="4032448" cy="93610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400" b="1" spc="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轮展望</a:t>
            </a:r>
          </a:p>
        </p:txBody>
      </p:sp>
      <p:grpSp>
        <p:nvGrpSpPr>
          <p:cNvPr id="13" name="组合 12"/>
          <p:cNvGrpSpPr>
            <a:grpSpLocks noChangeAspect="1"/>
          </p:cNvGrpSpPr>
          <p:nvPr/>
        </p:nvGrpSpPr>
        <p:grpSpPr>
          <a:xfrm>
            <a:off x="1763690" y="879749"/>
            <a:ext cx="1317747" cy="2215991"/>
            <a:chOff x="332656" y="1525057"/>
            <a:chExt cx="1561667" cy="2721231"/>
          </a:xfrm>
          <a:solidFill>
            <a:srgbClr val="558ED5"/>
          </a:solidFill>
        </p:grpSpPr>
        <p:sp>
          <p:nvSpPr>
            <p:cNvPr id="14" name="矩形 13"/>
            <p:cNvSpPr>
              <a:spLocks noChangeAspect="1"/>
            </p:cNvSpPr>
            <p:nvPr/>
          </p:nvSpPr>
          <p:spPr>
            <a:xfrm>
              <a:off x="332656" y="2179762"/>
              <a:ext cx="1186906" cy="1152127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矩形 14"/>
            <p:cNvSpPr/>
            <p:nvPr/>
          </p:nvSpPr>
          <p:spPr>
            <a:xfrm>
              <a:off x="509043" y="1525057"/>
              <a:ext cx="1385280" cy="272123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13800" dirty="0">
                  <a:ln w="18415" cmpd="sng">
                    <a:solidFill>
                      <a:schemeClr val="bg1"/>
                    </a:solidFill>
                    <a:prstDash val="solid"/>
                  </a:ln>
                  <a:solidFill>
                    <a:schemeClr val="bg1"/>
                  </a:solidFill>
                  <a:latin typeface="Segoe WP" pitchFamily="34" charset="0"/>
                </a:rPr>
                <a:t>1</a:t>
              </a:r>
              <a:endParaRPr lang="zh-CN" altLang="en-US" sz="13800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Segoe WP" pitchFamily="34" charset="0"/>
              </a:endParaRPr>
            </a:p>
          </p:txBody>
        </p:sp>
      </p:grpSp>
      <p:grpSp>
        <p:nvGrpSpPr>
          <p:cNvPr id="16" name="组合 15"/>
          <p:cNvGrpSpPr>
            <a:grpSpLocks noChangeAspect="1"/>
          </p:cNvGrpSpPr>
          <p:nvPr/>
        </p:nvGrpSpPr>
        <p:grpSpPr>
          <a:xfrm>
            <a:off x="1763690" y="2229248"/>
            <a:ext cx="1165301" cy="1862048"/>
            <a:chOff x="332656" y="3511980"/>
            <a:chExt cx="1381004" cy="2286591"/>
          </a:xfrm>
        </p:grpSpPr>
        <p:sp>
          <p:nvSpPr>
            <p:cNvPr id="17" name="矩形 16"/>
            <p:cNvSpPr/>
            <p:nvPr/>
          </p:nvSpPr>
          <p:spPr>
            <a:xfrm>
              <a:off x="332656" y="4044380"/>
              <a:ext cx="1152128" cy="1152128"/>
            </a:xfrm>
            <a:prstGeom prst="rect">
              <a:avLst/>
            </a:prstGeom>
            <a:solidFill>
              <a:srgbClr val="558ED5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矩形 17"/>
            <p:cNvSpPr/>
            <p:nvPr/>
          </p:nvSpPr>
          <p:spPr>
            <a:xfrm>
              <a:off x="522152" y="3511980"/>
              <a:ext cx="1191508" cy="228659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11500" dirty="0">
                  <a:ln w="18415" cmpd="sng">
                    <a:solidFill>
                      <a:schemeClr val="bg1"/>
                    </a:solidFill>
                    <a:prstDash val="solid"/>
                  </a:ln>
                  <a:solidFill>
                    <a:schemeClr val="bg1"/>
                  </a:solidFill>
                  <a:latin typeface="Segoe WP" pitchFamily="34" charset="0"/>
                </a:rPr>
                <a:t>2</a:t>
              </a:r>
              <a:endParaRPr lang="zh-CN" altLang="en-US" sz="16600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Segoe WP" pitchFamily="34" charset="0"/>
              </a:endParaRPr>
            </a:p>
          </p:txBody>
        </p:sp>
      </p:grpSp>
      <p:grpSp>
        <p:nvGrpSpPr>
          <p:cNvPr id="19" name="组合 18"/>
          <p:cNvGrpSpPr>
            <a:grpSpLocks noChangeAspect="1"/>
          </p:cNvGrpSpPr>
          <p:nvPr/>
        </p:nvGrpSpPr>
        <p:grpSpPr>
          <a:xfrm>
            <a:off x="1763691" y="3409951"/>
            <a:ext cx="1165301" cy="1862048"/>
            <a:chOff x="310563" y="5596086"/>
            <a:chExt cx="1381004" cy="2286591"/>
          </a:xfrm>
        </p:grpSpPr>
        <p:sp>
          <p:nvSpPr>
            <p:cNvPr id="20" name="矩形 19"/>
            <p:cNvSpPr/>
            <p:nvPr/>
          </p:nvSpPr>
          <p:spPr>
            <a:xfrm>
              <a:off x="310563" y="6156176"/>
              <a:ext cx="1152128" cy="1152128"/>
            </a:xfrm>
            <a:prstGeom prst="rect">
              <a:avLst/>
            </a:prstGeom>
            <a:solidFill>
              <a:srgbClr val="558ED5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矩形 20"/>
            <p:cNvSpPr/>
            <p:nvPr/>
          </p:nvSpPr>
          <p:spPr>
            <a:xfrm>
              <a:off x="500059" y="5596086"/>
              <a:ext cx="1191508" cy="228659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11500" dirty="0">
                  <a:ln w="18415" cmpd="sng">
                    <a:solidFill>
                      <a:schemeClr val="bg1"/>
                    </a:solidFill>
                    <a:prstDash val="solid"/>
                  </a:ln>
                  <a:solidFill>
                    <a:schemeClr val="bg1"/>
                  </a:solidFill>
                  <a:latin typeface="Segoe WP" pitchFamily="34" charset="0"/>
                </a:rPr>
                <a:t>3</a:t>
              </a:r>
              <a:endParaRPr lang="zh-CN" altLang="en-US" sz="11500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Segoe WP" pitchFamily="34" charset="0"/>
              </a:endParaRPr>
            </a:p>
          </p:txBody>
        </p:sp>
      </p:grpSp>
      <p:grpSp>
        <p:nvGrpSpPr>
          <p:cNvPr id="22" name="组合 21"/>
          <p:cNvGrpSpPr>
            <a:grpSpLocks noChangeAspect="1"/>
          </p:cNvGrpSpPr>
          <p:nvPr/>
        </p:nvGrpSpPr>
        <p:grpSpPr>
          <a:xfrm>
            <a:off x="1763689" y="4629389"/>
            <a:ext cx="1165302" cy="1862048"/>
            <a:chOff x="249793" y="7612310"/>
            <a:chExt cx="1381005" cy="2286592"/>
          </a:xfrm>
        </p:grpSpPr>
        <p:sp>
          <p:nvSpPr>
            <p:cNvPr id="23" name="矩形 22"/>
            <p:cNvSpPr/>
            <p:nvPr/>
          </p:nvSpPr>
          <p:spPr>
            <a:xfrm>
              <a:off x="249793" y="8172400"/>
              <a:ext cx="1152128" cy="1152128"/>
            </a:xfrm>
            <a:prstGeom prst="rect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4" name="矩形 23"/>
            <p:cNvSpPr/>
            <p:nvPr/>
          </p:nvSpPr>
          <p:spPr>
            <a:xfrm>
              <a:off x="439290" y="7612310"/>
              <a:ext cx="1191508" cy="2286592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11500" dirty="0">
                  <a:ln w="18415" cmpd="sng">
                    <a:solidFill>
                      <a:schemeClr val="bg1"/>
                    </a:solidFill>
                    <a:prstDash val="solid"/>
                  </a:ln>
                  <a:solidFill>
                    <a:schemeClr val="bg1"/>
                  </a:solidFill>
                  <a:latin typeface="Segoe WP" pitchFamily="34" charset="0"/>
                </a:rPr>
                <a:t>4</a:t>
              </a:r>
              <a:endParaRPr lang="zh-CN" altLang="en-US" sz="11500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Segoe WP" pitchFamily="34" charset="0"/>
              </a:endParaRPr>
            </a:p>
          </p:txBody>
        </p:sp>
      </p:grpSp>
      <p:pic>
        <p:nvPicPr>
          <p:cNvPr id="27" name="图片 2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4838" y="6025636"/>
            <a:ext cx="1143000" cy="276225"/>
          </a:xfrm>
          <a:prstGeom prst="rect">
            <a:avLst/>
          </a:prstGeom>
        </p:spPr>
      </p:pic>
      <p:pic>
        <p:nvPicPr>
          <p:cNvPr id="28" name="图片 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0783" y="4812127"/>
            <a:ext cx="1209675" cy="2857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034"/>
    </mc:Choice>
    <mc:Fallback xmlns="">
      <p:transition spd="slow" advTm="11034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下轮</a:t>
            </a:r>
            <a:r>
              <a:rPr lang="zh-CN" altLang="en-US" dirty="0" smtClean="0"/>
              <a:t>展望</a:t>
            </a:r>
            <a:endParaRPr lang="zh-CN" altLang="en-US" dirty="0"/>
          </a:p>
        </p:txBody>
      </p:sp>
      <p:sp>
        <p:nvSpPr>
          <p:cNvPr id="32" name="矩形 31"/>
          <p:cNvSpPr>
            <a:spLocks noChangeArrowheads="1"/>
          </p:cNvSpPr>
          <p:nvPr/>
        </p:nvSpPr>
        <p:spPr bwMode="auto">
          <a:xfrm>
            <a:off x="251519" y="692696"/>
            <a:ext cx="8665347" cy="574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Blip>
                <a:blip r:embed="rId2"/>
              </a:buBlip>
              <a:defRPr sz="28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▒"/>
              <a:defRPr kumimoji="1" sz="2400">
                <a:solidFill>
                  <a:srgbClr val="0000FF"/>
                </a:solidFill>
                <a:latin typeface="Arial Narrow" panose="020B0606020202030204" pitchFamily="34" charset="0"/>
                <a:ea typeface="华文楷体" panose="02010600040101010101" pitchFamily="2" charset="-122"/>
                <a:cs typeface="华文楷体" panose="02010600040101010101" pitchFamily="2" charset="-122"/>
              </a:defRPr>
            </a:lvl2pPr>
            <a:lvl3pPr marL="1143000" indent="-228600">
              <a:spcBef>
                <a:spcPct val="20000"/>
              </a:spcBef>
              <a:buBlip>
                <a:blip r:embed="rId3"/>
              </a:buBlip>
              <a:defRPr kumimoji="1" sz="2000">
                <a:solidFill>
                  <a:srgbClr val="E46C0A"/>
                </a:solidFill>
                <a:latin typeface="Arial Narrow" panose="020B0606020202030204" pitchFamily="34" charset="0"/>
                <a:ea typeface="华文仿宋" panose="02010600040101010101" pitchFamily="2" charset="-122"/>
                <a:cs typeface="华文仿宋" panose="0201060004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9pPr>
          </a:lstStyle>
          <a:p>
            <a:pPr marL="342900" indent="-342900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n"/>
            </a:pPr>
            <a:r>
              <a:rPr lang="zh-CN" altLang="en-US" sz="2200" b="0" dirty="0">
                <a:solidFill>
                  <a:srgbClr val="558ED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波</a:t>
            </a:r>
            <a:r>
              <a:rPr lang="zh-CN" altLang="en-US" sz="2200" b="0" dirty="0" smtClean="0">
                <a:solidFill>
                  <a:srgbClr val="558ED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励系统</a:t>
            </a:r>
            <a:endParaRPr lang="zh-CN" altLang="en-US" sz="2200" b="0" dirty="0">
              <a:solidFill>
                <a:srgbClr val="558ED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35305" indent="-262255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zh-CN" altLang="en-US" sz="18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做好直线源端设备运行保障与备件准备</a:t>
            </a:r>
            <a:endParaRPr lang="en-US" altLang="zh-CN" sz="1800" b="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n"/>
            </a:pPr>
            <a:r>
              <a:rPr lang="zh-CN" altLang="en-US" sz="2200" b="0" dirty="0" smtClean="0">
                <a:solidFill>
                  <a:srgbClr val="558ED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波功率采集与传输系统</a:t>
            </a:r>
            <a:endParaRPr lang="en-US" altLang="zh-CN" sz="2200" b="0" dirty="0" smtClean="0">
              <a:solidFill>
                <a:srgbClr val="558ED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35305" indent="-262255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zh-CN" altLang="en-US" sz="18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密封陶瓷有漏的能量</a:t>
            </a: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倍增</a:t>
            </a:r>
            <a:r>
              <a:rPr lang="zh-CN" altLang="en-US" sz="18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器逐年更换（预计</a:t>
            </a:r>
            <a:r>
              <a:rPr lang="en-US" altLang="zh-CN" sz="18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27</a:t>
            </a:r>
            <a:r>
              <a:rPr lang="zh-CN" altLang="en-US" sz="18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暑期全部完成）</a:t>
            </a:r>
            <a:endParaRPr lang="en-US" altLang="zh-CN" sz="18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n"/>
            </a:pPr>
            <a:r>
              <a:rPr lang="zh-CN" altLang="en-US" sz="2200" b="0" dirty="0">
                <a:solidFill>
                  <a:srgbClr val="558ED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低电平</a:t>
            </a:r>
            <a:r>
              <a:rPr lang="zh-CN" altLang="en-US" sz="2200" b="0" dirty="0" smtClean="0">
                <a:solidFill>
                  <a:srgbClr val="558ED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</a:t>
            </a:r>
            <a:endParaRPr lang="en-US" altLang="zh-CN" sz="2200" b="0" dirty="0">
              <a:solidFill>
                <a:srgbClr val="558ED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58800" lvl="1">
              <a:lnSpc>
                <a:spcPct val="13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/>
            </a:pPr>
            <a:r>
              <a:rPr lang="zh-CN" altLang="en-US" sz="1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硬件稳定性提升</a:t>
            </a:r>
            <a:endParaRPr lang="en-US" altLang="zh-CN" sz="18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lvl="1" algn="just" eaLnBrk="1" fontAlgn="auto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>
                <a:srgbClr val="558ED5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低电平本地操作系统死机造成</a:t>
            </a: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OC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失联，判断是本地显示器在长期强电磁干扰下故障，将更换硬件 </a:t>
            </a: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 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加强电磁屏蔽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 algn="just" eaLnBrk="1" fontAlgn="auto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>
                <a:srgbClr val="558ED5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早升级的</a:t>
            </a: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台相控采用的</a:t>
            </a: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U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机箱风扇数量多、易损坏，计划集中更换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58800" lvl="1">
              <a:lnSpc>
                <a:spcPct val="13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/>
            </a:pPr>
            <a:r>
              <a:rPr lang="zh-CN" altLang="en-US" sz="1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功能拓展</a:t>
            </a:r>
            <a:endParaRPr lang="en-US" altLang="zh-CN" sz="18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lvl="1" algn="just" eaLnBrk="1" fontAlgn="auto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>
                <a:srgbClr val="558ED5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</a:t>
            </a:r>
            <a:r>
              <a:rPr lang="en-US" altLang="zh-CN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PS</a:t>
            </a:r>
            <a:r>
              <a:rPr lang="zh-CN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电源及低电平机箱增加远程控制功能，实现远程开关机、重启、硬件状态监测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</a:t>
            </a:r>
            <a:endParaRPr lang="en-US" altLang="zh-CN" sz="16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n"/>
            </a:pPr>
            <a:r>
              <a:rPr lang="zh-CN" altLang="en-US" sz="2200" b="0" dirty="0" smtClean="0">
                <a:solidFill>
                  <a:srgbClr val="558ED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次</a:t>
            </a:r>
            <a:r>
              <a:rPr lang="zh-CN" altLang="en-US" sz="2200" b="0" dirty="0">
                <a:solidFill>
                  <a:srgbClr val="558ED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谐波系统</a:t>
            </a:r>
          </a:p>
          <a:p>
            <a:pPr marL="535305" indent="-262255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保障</a:t>
            </a:r>
            <a:r>
              <a:rPr lang="zh-CN" altLang="en-US" sz="18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稳定</a:t>
            </a: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运行</a:t>
            </a:r>
            <a:endParaRPr lang="en-US" altLang="zh-CN" sz="18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034"/>
    </mc:Choice>
    <mc:Fallback xmlns="">
      <p:transition spd="slow" advTm="11034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1"/>
          <p:cNvSpPr txBox="1"/>
          <p:nvPr/>
        </p:nvSpPr>
        <p:spPr>
          <a:xfrm>
            <a:off x="2987826" y="1484784"/>
            <a:ext cx="3168351" cy="126764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zh-CN" altLang="en-US" sz="8000" b="1" spc="600" dirty="0"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谢谢！</a:t>
            </a:r>
          </a:p>
        </p:txBody>
      </p:sp>
      <p:sp>
        <p:nvSpPr>
          <p:cNvPr id="14" name="矩形 13"/>
          <p:cNvSpPr/>
          <p:nvPr/>
        </p:nvSpPr>
        <p:spPr>
          <a:xfrm>
            <a:off x="4573572" y="3534923"/>
            <a:ext cx="1980000" cy="1620000"/>
          </a:xfrm>
          <a:prstGeom prst="rect">
            <a:avLst/>
          </a:prstGeom>
          <a:solidFill>
            <a:srgbClr val="F966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矩形 14"/>
          <p:cNvSpPr>
            <a:spLocks noChangeAspect="1"/>
          </p:cNvSpPr>
          <p:nvPr/>
        </p:nvSpPr>
        <p:spPr>
          <a:xfrm>
            <a:off x="4572000" y="4449752"/>
            <a:ext cx="1944000" cy="304374"/>
          </a:xfrm>
          <a:prstGeom prst="rect">
            <a:avLst/>
          </a:prstGeom>
          <a:solidFill>
            <a:srgbClr val="F966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7" name="矩形 16"/>
          <p:cNvSpPr/>
          <p:nvPr/>
        </p:nvSpPr>
        <p:spPr>
          <a:xfrm>
            <a:off x="2341324" y="3547366"/>
            <a:ext cx="1980000" cy="1620000"/>
          </a:xfrm>
          <a:prstGeom prst="rect">
            <a:avLst/>
          </a:prstGeom>
          <a:solidFill>
            <a:srgbClr val="558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5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20</a:t>
            </a:r>
            <a:endParaRPr lang="zh-CN" altLang="en-US" sz="12500" b="1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4561368" y="3356451"/>
            <a:ext cx="2314889" cy="2292935"/>
            <a:chOff x="4561366" y="3356449"/>
            <a:chExt cx="2314889" cy="2292935"/>
          </a:xfrm>
        </p:grpSpPr>
        <p:sp>
          <p:nvSpPr>
            <p:cNvPr id="2" name="文本框 1"/>
            <p:cNvSpPr txBox="1"/>
            <p:nvPr/>
          </p:nvSpPr>
          <p:spPr>
            <a:xfrm>
              <a:off x="4561366" y="3356449"/>
              <a:ext cx="2314889" cy="22929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500" b="1" dirty="0">
                  <a:solidFill>
                    <a:schemeClr val="bg1"/>
                  </a:solidFill>
                  <a:cs typeface="Arial" panose="020B0604020202020204" pitchFamily="34" charset="0"/>
                </a:rPr>
                <a:t>25</a:t>
              </a:r>
              <a:endParaRPr lang="zh-CN" altLang="en-US" sz="125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  <a:p>
              <a:endParaRPr lang="zh-CN" altLang="en-US" dirty="0"/>
            </a:p>
          </p:txBody>
        </p:sp>
        <p:sp>
          <p:nvSpPr>
            <p:cNvPr id="16" name="矩形 15"/>
            <p:cNvSpPr>
              <a:spLocks noChangeArrowheads="1"/>
            </p:cNvSpPr>
            <p:nvPr/>
          </p:nvSpPr>
          <p:spPr bwMode="auto">
            <a:xfrm>
              <a:off x="4572000" y="4767256"/>
              <a:ext cx="1975484" cy="400110"/>
            </a:xfrm>
            <a:prstGeom prst="rect">
              <a:avLst/>
            </a:prstGeom>
            <a:solidFill>
              <a:srgbClr val="F9665C"/>
            </a:solidFill>
            <a:ln>
              <a:noFill/>
            </a:ln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Blip>
                  <a:blip r:embed="rId2"/>
                </a:buBlip>
                <a:defRPr sz="28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  <a:cs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▒"/>
                <a:defRPr kumimoji="1" sz="2400">
                  <a:solidFill>
                    <a:srgbClr val="0000FF"/>
                  </a:solidFill>
                  <a:latin typeface="Arial Narrow" panose="020B0606020202030204" pitchFamily="34" charset="0"/>
                  <a:ea typeface="华文楷体" panose="02010600040101010101" pitchFamily="2" charset="-122"/>
                  <a:cs typeface="华文楷体" panose="02010600040101010101" pitchFamily="2" charset="-122"/>
                </a:defRPr>
              </a:lvl2pPr>
              <a:lvl3pPr marL="1143000" indent="-228600">
                <a:spcBef>
                  <a:spcPct val="20000"/>
                </a:spcBef>
                <a:buBlip>
                  <a:blip r:embed="rId3"/>
                </a:buBlip>
                <a:defRPr kumimoji="1" sz="2000">
                  <a:solidFill>
                    <a:srgbClr val="E46C0A"/>
                  </a:solidFill>
                  <a:latin typeface="Arial Narrow" panose="020B0606020202030204" pitchFamily="34" charset="0"/>
                  <a:ea typeface="华文仿宋" panose="02010600040101010101" pitchFamily="2" charset="-122"/>
                  <a:cs typeface="华文仿宋" panose="0201060004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kumimoji="1" sz="2000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  <a:cs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  <a:cs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  <a:cs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  <a:cs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  <a:cs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  <a:cs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None/>
              </a:pPr>
              <a:r>
                <a:rPr lang="en-US" altLang="zh-CN" sz="2000" b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BEPCII</a:t>
              </a:r>
              <a:r>
                <a:rPr lang="zh-CN" altLang="en-US" sz="2000" b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会报告</a:t>
              </a:r>
              <a:endParaRPr lang="en-US" altLang="zh-CN" sz="1400" b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2" y="548680"/>
            <a:ext cx="8720787" cy="5616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172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467546" y="260986"/>
            <a:ext cx="7549225" cy="529596"/>
          </a:xfrm>
        </p:spPr>
        <p:txBody>
          <a:bodyPr/>
          <a:lstStyle/>
          <a:p>
            <a:r>
              <a:rPr lang="zh-CN" altLang="en-US" dirty="0"/>
              <a:t>运行故障</a:t>
            </a:r>
            <a:r>
              <a:rPr lang="zh-CN" altLang="en-US" dirty="0" smtClean="0"/>
              <a:t>汇总（</a:t>
            </a:r>
            <a:r>
              <a:rPr lang="en-US" altLang="zh-CN" dirty="0" smtClean="0"/>
              <a:t>2025.05.05~2025.07.28</a:t>
            </a:r>
            <a:r>
              <a:rPr lang="zh-CN" altLang="en-US" dirty="0" smtClean="0"/>
              <a:t>）</a:t>
            </a:r>
            <a:endParaRPr lang="zh-CN" altLang="en-US" dirty="0"/>
          </a:p>
        </p:txBody>
      </p:sp>
      <p:sp>
        <p:nvSpPr>
          <p:cNvPr id="33" name="Rectangle 22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554465" y="1544661"/>
            <a:ext cx="1882882" cy="658048"/>
          </a:xfrm>
          <a:prstGeom prst="rect">
            <a:avLst/>
          </a:pr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ctr" anchorCtr="0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19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微波激励系统</a:t>
            </a:r>
            <a:endParaRPr lang="en-US" altLang="zh-CN" sz="19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35" name="Rectangle 22"/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554465" y="2639178"/>
            <a:ext cx="1882882" cy="658048"/>
          </a:xfrm>
          <a:prstGeom prst="rect">
            <a:avLst/>
          </a:pr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19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微波功率采集与传输系统</a:t>
            </a:r>
            <a:endParaRPr lang="en-US" altLang="zh-CN" sz="19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37" name="Rectangle 22"/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>
            <a:off x="551625" y="3799074"/>
            <a:ext cx="1882882" cy="658048"/>
          </a:xfrm>
          <a:prstGeom prst="rect">
            <a:avLst/>
          </a:pr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t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endParaRPr lang="en-US" altLang="zh-CN" sz="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19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低电平系统</a:t>
            </a:r>
            <a:endParaRPr lang="en-US" altLang="zh-CN" sz="19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38" name="Rectangle 22"/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551625" y="5044235"/>
            <a:ext cx="1882882" cy="658048"/>
          </a:xfrm>
          <a:prstGeom prst="rect">
            <a:avLst/>
          </a:pr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t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endParaRPr lang="en-US" altLang="zh-CN" sz="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19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次谐波系统</a:t>
            </a:r>
            <a:endParaRPr lang="en-US" altLang="zh-CN" sz="19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40" name="矩形 39"/>
          <p:cNvSpPr>
            <a:spLocks noChangeAspect="1"/>
          </p:cNvSpPr>
          <p:nvPr/>
        </p:nvSpPr>
        <p:spPr>
          <a:xfrm>
            <a:off x="2843811" y="1544661"/>
            <a:ext cx="504055" cy="658048"/>
          </a:xfrm>
          <a:prstGeom prst="rect">
            <a:avLst/>
          </a:prstGeom>
          <a:solidFill>
            <a:srgbClr val="FF8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zh-CN" altLang="en-US" sz="2800" dirty="0"/>
          </a:p>
        </p:txBody>
      </p:sp>
      <p:sp>
        <p:nvSpPr>
          <p:cNvPr id="41" name="矩形 40"/>
          <p:cNvSpPr/>
          <p:nvPr/>
        </p:nvSpPr>
        <p:spPr>
          <a:xfrm>
            <a:off x="2794252" y="1292569"/>
            <a:ext cx="697628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7200" dirty="0">
                <a:ln w="18415" cmpd="sng">
                  <a:noFill/>
                  <a:prstDash val="solid"/>
                </a:ln>
                <a:solidFill>
                  <a:schemeClr val="bg1"/>
                </a:solidFill>
                <a:latin typeface="Segoe WP" pitchFamily="34" charset="0"/>
              </a:rPr>
              <a:t>0</a:t>
            </a:r>
            <a:endParaRPr lang="zh-CN" altLang="en-US" sz="7200" dirty="0">
              <a:ln w="18415" cmpd="sng">
                <a:noFill/>
                <a:prstDash val="solid"/>
              </a:ln>
              <a:solidFill>
                <a:schemeClr val="bg1"/>
              </a:solidFill>
              <a:latin typeface="Segoe WP" pitchFamily="34" charset="0"/>
            </a:endParaRPr>
          </a:p>
        </p:txBody>
      </p:sp>
      <p:sp>
        <p:nvSpPr>
          <p:cNvPr id="27" name="矩形 26"/>
          <p:cNvSpPr>
            <a:spLocks noChangeAspect="1"/>
          </p:cNvSpPr>
          <p:nvPr/>
        </p:nvSpPr>
        <p:spPr>
          <a:xfrm>
            <a:off x="2813243" y="5044235"/>
            <a:ext cx="534623" cy="658048"/>
          </a:xfrm>
          <a:prstGeom prst="rect">
            <a:avLst/>
          </a:prstGeom>
          <a:solidFill>
            <a:srgbClr val="FF8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zh-CN" altLang="en-US" sz="2800" dirty="0"/>
          </a:p>
        </p:txBody>
      </p:sp>
      <p:sp>
        <p:nvSpPr>
          <p:cNvPr id="28" name="矩形 27"/>
          <p:cNvSpPr/>
          <p:nvPr/>
        </p:nvSpPr>
        <p:spPr>
          <a:xfrm>
            <a:off x="2794252" y="4804672"/>
            <a:ext cx="697628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7200" dirty="0">
                <a:ln w="18415" cmpd="sng">
                  <a:noFill/>
                  <a:prstDash val="solid"/>
                </a:ln>
                <a:solidFill>
                  <a:schemeClr val="bg1"/>
                </a:solidFill>
                <a:latin typeface="Segoe WP" pitchFamily="34" charset="0"/>
              </a:rPr>
              <a:t>0</a:t>
            </a:r>
            <a:endParaRPr lang="zh-CN" altLang="en-US" sz="7200" dirty="0">
              <a:ln w="18415" cmpd="sng">
                <a:noFill/>
                <a:prstDash val="solid"/>
              </a:ln>
              <a:solidFill>
                <a:schemeClr val="bg1"/>
              </a:solidFill>
              <a:latin typeface="Segoe WP" pitchFamily="34" charset="0"/>
            </a:endParaRPr>
          </a:p>
        </p:txBody>
      </p:sp>
      <p:sp>
        <p:nvSpPr>
          <p:cNvPr id="20" name="矩形 19"/>
          <p:cNvSpPr>
            <a:spLocks noChangeAspect="1"/>
          </p:cNvSpPr>
          <p:nvPr/>
        </p:nvSpPr>
        <p:spPr>
          <a:xfrm>
            <a:off x="2813243" y="3799074"/>
            <a:ext cx="534623" cy="658048"/>
          </a:xfrm>
          <a:prstGeom prst="rect">
            <a:avLst/>
          </a:prstGeom>
          <a:solidFill>
            <a:srgbClr val="FF8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zh-CN" altLang="en-US" sz="2800" dirty="0"/>
          </a:p>
        </p:txBody>
      </p:sp>
      <p:sp>
        <p:nvSpPr>
          <p:cNvPr id="21" name="矩形 20"/>
          <p:cNvSpPr/>
          <p:nvPr/>
        </p:nvSpPr>
        <p:spPr>
          <a:xfrm>
            <a:off x="2794252" y="3559511"/>
            <a:ext cx="697628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7200" dirty="0">
                <a:ln w="18415" cmpd="sng">
                  <a:noFill/>
                  <a:prstDash val="solid"/>
                </a:ln>
                <a:solidFill>
                  <a:schemeClr val="bg1"/>
                </a:solidFill>
                <a:latin typeface="Segoe WP" pitchFamily="34" charset="0"/>
              </a:rPr>
              <a:t>0</a:t>
            </a:r>
            <a:endParaRPr lang="zh-CN" altLang="en-US" sz="7200" dirty="0">
              <a:ln w="18415" cmpd="sng">
                <a:noFill/>
                <a:prstDash val="solid"/>
              </a:ln>
              <a:solidFill>
                <a:schemeClr val="bg1"/>
              </a:solidFill>
              <a:latin typeface="Segoe WP" pitchFamily="34" charset="0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5609550" y="6381330"/>
            <a:ext cx="3307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*</a:t>
            </a:r>
            <a:r>
              <a:rPr lang="zh-CN" altLang="en-US" sz="1400" dirty="0"/>
              <a:t>相控系统软件重启、更改设置等未计入</a:t>
            </a:r>
          </a:p>
        </p:txBody>
      </p:sp>
      <p:sp>
        <p:nvSpPr>
          <p:cNvPr id="16" name="矩形 15"/>
          <p:cNvSpPr>
            <a:spLocks noChangeAspect="1"/>
          </p:cNvSpPr>
          <p:nvPr/>
        </p:nvSpPr>
        <p:spPr>
          <a:xfrm>
            <a:off x="2843811" y="2624781"/>
            <a:ext cx="504055" cy="658048"/>
          </a:xfrm>
          <a:prstGeom prst="rect">
            <a:avLst/>
          </a:prstGeom>
          <a:solidFill>
            <a:srgbClr val="FF8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zh-CN" altLang="en-US" sz="2800" dirty="0"/>
          </a:p>
        </p:txBody>
      </p:sp>
      <p:sp>
        <p:nvSpPr>
          <p:cNvPr id="17" name="矩形 16"/>
          <p:cNvSpPr/>
          <p:nvPr/>
        </p:nvSpPr>
        <p:spPr>
          <a:xfrm>
            <a:off x="2794252" y="2372689"/>
            <a:ext cx="697628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7200" dirty="0">
                <a:ln w="18415" cmpd="sng">
                  <a:noFill/>
                  <a:prstDash val="solid"/>
                </a:ln>
                <a:solidFill>
                  <a:schemeClr val="bg1"/>
                </a:solidFill>
                <a:latin typeface="Segoe WP" pitchFamily="34" charset="0"/>
              </a:rPr>
              <a:t>0</a:t>
            </a:r>
            <a:endParaRPr lang="zh-CN" altLang="en-US" sz="7200" dirty="0">
              <a:ln w="18415" cmpd="sng">
                <a:noFill/>
                <a:prstDash val="solid"/>
              </a:ln>
              <a:solidFill>
                <a:schemeClr val="bg1"/>
              </a:solidFill>
              <a:latin typeface="Segoe WP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主要内容</a:t>
            </a:r>
          </a:p>
        </p:txBody>
      </p:sp>
      <p:sp>
        <p:nvSpPr>
          <p:cNvPr id="5" name="矩形 4"/>
          <p:cNvSpPr>
            <a:spLocks noChangeAspect="1"/>
          </p:cNvSpPr>
          <p:nvPr/>
        </p:nvSpPr>
        <p:spPr>
          <a:xfrm>
            <a:off x="3059832" y="1412776"/>
            <a:ext cx="4032448" cy="936104"/>
          </a:xfrm>
          <a:prstGeom prst="rect">
            <a:avLst/>
          </a:prstGeom>
          <a:solidFill>
            <a:srgbClr val="558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400" b="1" spc="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运行总揽</a:t>
            </a:r>
          </a:p>
        </p:txBody>
      </p:sp>
      <p:sp>
        <p:nvSpPr>
          <p:cNvPr id="7" name="矩形 6"/>
          <p:cNvSpPr>
            <a:spLocks noChangeAspect="1"/>
          </p:cNvSpPr>
          <p:nvPr/>
        </p:nvSpPr>
        <p:spPr>
          <a:xfrm>
            <a:off x="3059832" y="2636912"/>
            <a:ext cx="4032448" cy="93610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400" b="1" spc="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项介绍</a:t>
            </a:r>
          </a:p>
        </p:txBody>
      </p:sp>
      <p:sp>
        <p:nvSpPr>
          <p:cNvPr id="9" name="矩形 8"/>
          <p:cNvSpPr>
            <a:spLocks noChangeAspect="1"/>
          </p:cNvSpPr>
          <p:nvPr/>
        </p:nvSpPr>
        <p:spPr>
          <a:xfrm>
            <a:off x="3059832" y="3861048"/>
            <a:ext cx="4032448" cy="936104"/>
          </a:xfrm>
          <a:prstGeom prst="rect">
            <a:avLst/>
          </a:prstGeom>
          <a:solidFill>
            <a:srgbClr val="558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400" b="1" spc="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暑期检修</a:t>
            </a:r>
          </a:p>
        </p:txBody>
      </p:sp>
      <p:sp>
        <p:nvSpPr>
          <p:cNvPr id="11" name="矩形 10"/>
          <p:cNvSpPr>
            <a:spLocks noChangeAspect="1"/>
          </p:cNvSpPr>
          <p:nvPr/>
        </p:nvSpPr>
        <p:spPr>
          <a:xfrm>
            <a:off x="3059832" y="5085184"/>
            <a:ext cx="4032448" cy="936104"/>
          </a:xfrm>
          <a:prstGeom prst="rect">
            <a:avLst/>
          </a:prstGeom>
          <a:solidFill>
            <a:srgbClr val="558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400" b="1" spc="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轮展望</a:t>
            </a:r>
          </a:p>
        </p:txBody>
      </p:sp>
      <p:grpSp>
        <p:nvGrpSpPr>
          <p:cNvPr id="13" name="组合 12"/>
          <p:cNvGrpSpPr>
            <a:grpSpLocks noChangeAspect="1"/>
          </p:cNvGrpSpPr>
          <p:nvPr/>
        </p:nvGrpSpPr>
        <p:grpSpPr>
          <a:xfrm>
            <a:off x="1763690" y="879749"/>
            <a:ext cx="1317747" cy="2215991"/>
            <a:chOff x="332656" y="1525057"/>
            <a:chExt cx="1561667" cy="2721231"/>
          </a:xfrm>
          <a:solidFill>
            <a:srgbClr val="558ED5"/>
          </a:solidFill>
        </p:grpSpPr>
        <p:sp>
          <p:nvSpPr>
            <p:cNvPr id="14" name="矩形 13"/>
            <p:cNvSpPr>
              <a:spLocks noChangeAspect="1"/>
            </p:cNvSpPr>
            <p:nvPr/>
          </p:nvSpPr>
          <p:spPr>
            <a:xfrm>
              <a:off x="332656" y="2179762"/>
              <a:ext cx="1186906" cy="1152127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矩形 14"/>
            <p:cNvSpPr/>
            <p:nvPr/>
          </p:nvSpPr>
          <p:spPr>
            <a:xfrm>
              <a:off x="509043" y="1525057"/>
              <a:ext cx="1385280" cy="272123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13800" dirty="0">
                  <a:ln w="18415" cmpd="sng">
                    <a:solidFill>
                      <a:schemeClr val="bg1"/>
                    </a:solidFill>
                    <a:prstDash val="solid"/>
                  </a:ln>
                  <a:solidFill>
                    <a:schemeClr val="bg1"/>
                  </a:solidFill>
                  <a:latin typeface="Segoe WP" pitchFamily="34" charset="0"/>
                </a:rPr>
                <a:t>1</a:t>
              </a:r>
              <a:endParaRPr lang="zh-CN" altLang="en-US" sz="13800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Segoe WP" pitchFamily="34" charset="0"/>
              </a:endParaRPr>
            </a:p>
          </p:txBody>
        </p:sp>
      </p:grpSp>
      <p:grpSp>
        <p:nvGrpSpPr>
          <p:cNvPr id="16" name="组合 15"/>
          <p:cNvGrpSpPr>
            <a:grpSpLocks noChangeAspect="1"/>
          </p:cNvGrpSpPr>
          <p:nvPr/>
        </p:nvGrpSpPr>
        <p:grpSpPr>
          <a:xfrm>
            <a:off x="1763690" y="2229248"/>
            <a:ext cx="1165301" cy="1862048"/>
            <a:chOff x="332656" y="3511980"/>
            <a:chExt cx="1381004" cy="2286591"/>
          </a:xfrm>
        </p:grpSpPr>
        <p:sp>
          <p:nvSpPr>
            <p:cNvPr id="17" name="矩形 16"/>
            <p:cNvSpPr/>
            <p:nvPr/>
          </p:nvSpPr>
          <p:spPr>
            <a:xfrm>
              <a:off x="332656" y="4044380"/>
              <a:ext cx="1152128" cy="1152128"/>
            </a:xfrm>
            <a:prstGeom prst="rect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矩形 17"/>
            <p:cNvSpPr/>
            <p:nvPr/>
          </p:nvSpPr>
          <p:spPr>
            <a:xfrm>
              <a:off x="522152" y="3511980"/>
              <a:ext cx="1191508" cy="228659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11500" dirty="0">
                  <a:ln w="18415" cmpd="sng">
                    <a:solidFill>
                      <a:schemeClr val="bg1"/>
                    </a:solidFill>
                    <a:prstDash val="solid"/>
                  </a:ln>
                  <a:solidFill>
                    <a:schemeClr val="bg1"/>
                  </a:solidFill>
                  <a:latin typeface="Segoe WP" pitchFamily="34" charset="0"/>
                </a:rPr>
                <a:t>2</a:t>
              </a:r>
              <a:endParaRPr lang="zh-CN" altLang="en-US" sz="16600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Segoe WP" pitchFamily="34" charset="0"/>
              </a:endParaRPr>
            </a:p>
          </p:txBody>
        </p:sp>
      </p:grpSp>
      <p:grpSp>
        <p:nvGrpSpPr>
          <p:cNvPr id="19" name="组合 18"/>
          <p:cNvGrpSpPr>
            <a:grpSpLocks noChangeAspect="1"/>
          </p:cNvGrpSpPr>
          <p:nvPr/>
        </p:nvGrpSpPr>
        <p:grpSpPr>
          <a:xfrm>
            <a:off x="1763691" y="3409951"/>
            <a:ext cx="1165301" cy="1862048"/>
            <a:chOff x="310563" y="5596086"/>
            <a:chExt cx="1381004" cy="2286591"/>
          </a:xfrm>
        </p:grpSpPr>
        <p:sp>
          <p:nvSpPr>
            <p:cNvPr id="20" name="矩形 19"/>
            <p:cNvSpPr/>
            <p:nvPr/>
          </p:nvSpPr>
          <p:spPr>
            <a:xfrm>
              <a:off x="310563" y="6156176"/>
              <a:ext cx="1152128" cy="1152128"/>
            </a:xfrm>
            <a:prstGeom prst="rect">
              <a:avLst/>
            </a:prstGeom>
            <a:solidFill>
              <a:srgbClr val="558ED5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矩形 20"/>
            <p:cNvSpPr/>
            <p:nvPr/>
          </p:nvSpPr>
          <p:spPr>
            <a:xfrm>
              <a:off x="500059" y="5596086"/>
              <a:ext cx="1191508" cy="228659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11500" dirty="0">
                  <a:ln w="18415" cmpd="sng">
                    <a:solidFill>
                      <a:schemeClr val="bg1"/>
                    </a:solidFill>
                    <a:prstDash val="solid"/>
                  </a:ln>
                  <a:solidFill>
                    <a:schemeClr val="bg1"/>
                  </a:solidFill>
                  <a:latin typeface="Segoe WP" pitchFamily="34" charset="0"/>
                </a:rPr>
                <a:t>3</a:t>
              </a:r>
              <a:endParaRPr lang="zh-CN" altLang="en-US" sz="11500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Segoe WP" pitchFamily="34" charset="0"/>
              </a:endParaRPr>
            </a:p>
          </p:txBody>
        </p:sp>
      </p:grpSp>
      <p:grpSp>
        <p:nvGrpSpPr>
          <p:cNvPr id="22" name="组合 21"/>
          <p:cNvGrpSpPr>
            <a:grpSpLocks noChangeAspect="1"/>
          </p:cNvGrpSpPr>
          <p:nvPr/>
        </p:nvGrpSpPr>
        <p:grpSpPr>
          <a:xfrm>
            <a:off x="1763689" y="4629389"/>
            <a:ext cx="1165302" cy="1862048"/>
            <a:chOff x="249793" y="7612310"/>
            <a:chExt cx="1381005" cy="2286592"/>
          </a:xfrm>
        </p:grpSpPr>
        <p:sp>
          <p:nvSpPr>
            <p:cNvPr id="23" name="矩形 22"/>
            <p:cNvSpPr/>
            <p:nvPr/>
          </p:nvSpPr>
          <p:spPr>
            <a:xfrm>
              <a:off x="249793" y="8172400"/>
              <a:ext cx="1152128" cy="1152128"/>
            </a:xfrm>
            <a:prstGeom prst="rect">
              <a:avLst/>
            </a:prstGeom>
            <a:solidFill>
              <a:srgbClr val="558ED5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4" name="矩形 23"/>
            <p:cNvSpPr/>
            <p:nvPr/>
          </p:nvSpPr>
          <p:spPr>
            <a:xfrm>
              <a:off x="439290" y="7612310"/>
              <a:ext cx="1191508" cy="2286592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11500" dirty="0">
                  <a:ln w="18415" cmpd="sng">
                    <a:solidFill>
                      <a:schemeClr val="bg1"/>
                    </a:solidFill>
                    <a:prstDash val="solid"/>
                  </a:ln>
                  <a:solidFill>
                    <a:schemeClr val="bg1"/>
                  </a:solidFill>
                  <a:latin typeface="Segoe WP" pitchFamily="34" charset="0"/>
                </a:rPr>
                <a:t>4</a:t>
              </a:r>
              <a:endParaRPr lang="zh-CN" altLang="en-US" sz="11500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Segoe WP" pitchFamily="34" charset="0"/>
              </a:endParaRPr>
            </a:p>
          </p:txBody>
        </p:sp>
      </p:grpSp>
      <p:pic>
        <p:nvPicPr>
          <p:cNvPr id="27" name="图片 2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4838" y="6025636"/>
            <a:ext cx="1143000" cy="276225"/>
          </a:xfrm>
          <a:prstGeom prst="rect">
            <a:avLst/>
          </a:prstGeom>
        </p:spPr>
      </p:pic>
      <p:pic>
        <p:nvPicPr>
          <p:cNvPr id="28" name="图片 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0783" y="4812127"/>
            <a:ext cx="1209675" cy="2857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034"/>
    </mc:Choice>
    <mc:Fallback xmlns="">
      <p:transition spd="slow" advTm="11034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22"/>
          <p:cNvSpPr/>
          <p:nvPr>
            <p:custDataLst>
              <p:tags r:id="rId2"/>
            </p:custDataLst>
          </p:nvPr>
        </p:nvSpPr>
        <p:spPr bwMode="auto">
          <a:xfrm>
            <a:off x="2483768" y="1060687"/>
            <a:ext cx="3482022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ctr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endParaRPr lang="en-US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微波</a:t>
            </a:r>
            <a:r>
              <a:rPr lang="zh-CN" altLang="en-US" dirty="0" smtClean="0"/>
              <a:t>激励系统</a:t>
            </a:r>
            <a:endParaRPr lang="zh-CN" altLang="en-US" dirty="0"/>
          </a:p>
        </p:txBody>
      </p:sp>
      <p:sp>
        <p:nvSpPr>
          <p:cNvPr id="4" name="Rectangle 22"/>
          <p:cNvSpPr/>
          <p:nvPr>
            <p:custDataLst>
              <p:tags r:id="rId3"/>
            </p:custDataLst>
          </p:nvPr>
        </p:nvSpPr>
        <p:spPr bwMode="auto">
          <a:xfrm>
            <a:off x="0" y="1062262"/>
            <a:ext cx="5436096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 </a:t>
            </a:r>
            <a:r>
              <a:rPr lang="en-US" altLang="zh-CN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3</a:t>
            </a: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台半导体恒温箱</a:t>
            </a:r>
            <a:endParaRPr lang="en-US" altLang="zh-CN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6" name="Rectangle 22"/>
          <p:cNvSpPr/>
          <p:nvPr>
            <p:custDataLst>
              <p:tags r:id="rId4"/>
            </p:custDataLst>
          </p:nvPr>
        </p:nvSpPr>
        <p:spPr bwMode="auto">
          <a:xfrm>
            <a:off x="5652120" y="1052738"/>
            <a:ext cx="3491880" cy="585589"/>
          </a:xfrm>
          <a:custGeom>
            <a:avLst/>
            <a:gdLst>
              <a:gd name="connsiteX0" fmla="*/ 0 w 4206255"/>
              <a:gd name="connsiteY0" fmla="*/ 0 h 576064"/>
              <a:gd name="connsiteX1" fmla="*/ 4206255 w 4206255"/>
              <a:gd name="connsiteY1" fmla="*/ 0 h 576064"/>
              <a:gd name="connsiteX2" fmla="*/ 4206255 w 4206255"/>
              <a:gd name="connsiteY2" fmla="*/ 576064 h 576064"/>
              <a:gd name="connsiteX3" fmla="*/ 0 w 4206255"/>
              <a:gd name="connsiteY3" fmla="*/ 576064 h 576064"/>
              <a:gd name="connsiteX4" fmla="*/ 0 w 4206255"/>
              <a:gd name="connsiteY4" fmla="*/ 0 h 576064"/>
              <a:gd name="connsiteX0-1" fmla="*/ 0 w 4749180"/>
              <a:gd name="connsiteY0-2" fmla="*/ 0 h 585589"/>
              <a:gd name="connsiteX1-3" fmla="*/ 4749180 w 4749180"/>
              <a:gd name="connsiteY1-4" fmla="*/ 9525 h 585589"/>
              <a:gd name="connsiteX2-5" fmla="*/ 4749180 w 4749180"/>
              <a:gd name="connsiteY2-6" fmla="*/ 585589 h 585589"/>
              <a:gd name="connsiteX3-7" fmla="*/ 542925 w 4749180"/>
              <a:gd name="connsiteY3-8" fmla="*/ 585589 h 585589"/>
              <a:gd name="connsiteX4-9" fmla="*/ 0 w 4749180"/>
              <a:gd name="connsiteY4-10" fmla="*/ 0 h 58558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749180" h="585589">
                <a:moveTo>
                  <a:pt x="0" y="0"/>
                </a:moveTo>
                <a:lnTo>
                  <a:pt x="4749180" y="9525"/>
                </a:lnTo>
                <a:lnTo>
                  <a:pt x="4749180" y="585589"/>
                </a:lnTo>
                <a:lnTo>
                  <a:pt x="542925" y="585589"/>
                </a:lnTo>
                <a:lnTo>
                  <a:pt x="0" y="0"/>
                </a:lnTo>
                <a:close/>
              </a:path>
            </a:pathLst>
          </a:custGeom>
          <a:solidFill>
            <a:srgbClr val="8E499C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      光荣退役</a:t>
            </a:r>
            <a:endParaRPr lang="en-US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27" name="矩形 26"/>
          <p:cNvSpPr>
            <a:spLocks noChangeArrowheads="1"/>
          </p:cNvSpPr>
          <p:nvPr/>
        </p:nvSpPr>
        <p:spPr bwMode="auto">
          <a:xfrm>
            <a:off x="5367354" y="3862402"/>
            <a:ext cx="194421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Blip>
                <a:blip r:embed="rId7"/>
              </a:buBlip>
              <a:defRPr sz="28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▒"/>
              <a:defRPr kumimoji="1" sz="2400">
                <a:solidFill>
                  <a:srgbClr val="0000FF"/>
                </a:solidFill>
                <a:latin typeface="Arial Narrow" panose="020B0606020202030204" pitchFamily="34" charset="0"/>
                <a:ea typeface="华文楷体" panose="02010600040101010101" pitchFamily="2" charset="-122"/>
                <a:cs typeface="华文楷体" panose="02010600040101010101" pitchFamily="2" charset="-122"/>
              </a:defRPr>
            </a:lvl2pPr>
            <a:lvl3pPr marL="1143000" indent="-228600">
              <a:spcBef>
                <a:spcPct val="20000"/>
              </a:spcBef>
              <a:buBlip>
                <a:blip r:embed="rId8"/>
              </a:buBlip>
              <a:defRPr kumimoji="1" sz="2000">
                <a:solidFill>
                  <a:srgbClr val="E46C0A"/>
                </a:solidFill>
                <a:latin typeface="Arial Narrow" panose="020B0606020202030204" pitchFamily="34" charset="0"/>
                <a:ea typeface="华文仿宋" panose="02010600040101010101" pitchFamily="2" charset="-122"/>
                <a:cs typeface="华文仿宋" panose="0201060004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9pPr>
          </a:lstStyle>
          <a:p>
            <a:pPr algn="just">
              <a:spcBef>
                <a:spcPct val="0"/>
              </a:spcBef>
              <a:buFontTx/>
              <a:buNone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累计</a:t>
            </a:r>
            <a:r>
              <a:rPr lang="zh-CN" altLang="en-US" sz="2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行</a:t>
            </a:r>
            <a:r>
              <a:rPr lang="en-US" altLang="zh-CN" sz="2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en-US" sz="2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endParaRPr lang="en-US" altLang="zh-CN" sz="24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1835696" y="1896181"/>
            <a:ext cx="3346212" cy="4766447"/>
            <a:chOff x="277849" y="1896179"/>
            <a:chExt cx="3346212" cy="4766447"/>
          </a:xfrm>
        </p:grpSpPr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7849" y="1896179"/>
              <a:ext cx="3310426" cy="4394108"/>
            </a:xfrm>
            <a:prstGeom prst="rect">
              <a:avLst/>
            </a:prstGeom>
            <a:ln w="38100">
              <a:solidFill>
                <a:schemeClr val="accent1"/>
              </a:solidFill>
            </a:ln>
          </p:spPr>
        </p:pic>
        <p:sp>
          <p:nvSpPr>
            <p:cNvPr id="21" name="Rectangle 22"/>
            <p:cNvSpPr/>
            <p:nvPr>
              <p:custDataLst>
                <p:tags r:id="rId5"/>
              </p:custDataLst>
            </p:nvPr>
          </p:nvSpPr>
          <p:spPr bwMode="auto">
            <a:xfrm>
              <a:off x="2222065" y="6296506"/>
              <a:ext cx="1401996" cy="366120"/>
            </a:xfrm>
            <a:custGeom>
              <a:avLst/>
              <a:gdLst>
                <a:gd name="connsiteX0" fmla="*/ 0 w 1368152"/>
                <a:gd name="connsiteY0" fmla="*/ 0 h 324000"/>
                <a:gd name="connsiteX1" fmla="*/ 1368152 w 1368152"/>
                <a:gd name="connsiteY1" fmla="*/ 0 h 324000"/>
                <a:gd name="connsiteX2" fmla="*/ 1368152 w 1368152"/>
                <a:gd name="connsiteY2" fmla="*/ 324000 h 324000"/>
                <a:gd name="connsiteX3" fmla="*/ 0 w 1368152"/>
                <a:gd name="connsiteY3" fmla="*/ 324000 h 324000"/>
                <a:gd name="connsiteX4" fmla="*/ 0 w 1368152"/>
                <a:gd name="connsiteY4" fmla="*/ 0 h 324000"/>
                <a:gd name="connsiteX0-1" fmla="*/ 0 w 1368152"/>
                <a:gd name="connsiteY0-2" fmla="*/ 0 h 324000"/>
                <a:gd name="connsiteX1-3" fmla="*/ 1368152 w 1368152"/>
                <a:gd name="connsiteY1-4" fmla="*/ 0 h 324000"/>
                <a:gd name="connsiteX2-5" fmla="*/ 1368152 w 1368152"/>
                <a:gd name="connsiteY2-6" fmla="*/ 324000 h 324000"/>
                <a:gd name="connsiteX3-7" fmla="*/ 279400 w 1368152"/>
                <a:gd name="connsiteY3-8" fmla="*/ 324000 h 324000"/>
                <a:gd name="connsiteX4-9" fmla="*/ 0 w 1368152"/>
                <a:gd name="connsiteY4-10" fmla="*/ 0 h 32400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68152" h="324000">
                  <a:moveTo>
                    <a:pt x="0" y="0"/>
                  </a:moveTo>
                  <a:lnTo>
                    <a:pt x="1368152" y="0"/>
                  </a:lnTo>
                  <a:lnTo>
                    <a:pt x="1368152" y="324000"/>
                  </a:lnTo>
                  <a:lnTo>
                    <a:pt x="279400" y="324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58ED5"/>
            </a:solidFill>
            <a:ln w="9525">
              <a:solidFill>
                <a:srgbClr val="558ED5"/>
              </a:solidFill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91428" tIns="137172" rIns="91428" bIns="45715" anchor="ctr"/>
            <a:lstStyle/>
            <a:p>
              <a:pPr algn="r" defTabSz="913765">
                <a:lnSpc>
                  <a:spcPct val="90000"/>
                </a:lnSpc>
                <a:spcBef>
                  <a:spcPts val="630"/>
                </a:spcBef>
                <a:buClr>
                  <a:schemeClr val="bg2">
                    <a:lumMod val="75000"/>
                  </a:schemeClr>
                </a:buClr>
                <a:buSzPct val="100000"/>
                <a:defRPr/>
              </a:pPr>
              <a:r>
                <a:rPr lang="zh-CN" altLang="en-US" sz="1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半导体恒温箱</a:t>
              </a:r>
              <a:endParaRPr lang="en-US" sz="1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</p:grp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780"/>
    </mc:Choice>
    <mc:Fallback xmlns="">
      <p:transition spd="slow" advTm="16780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22"/>
          <p:cNvSpPr/>
          <p:nvPr>
            <p:custDataLst>
              <p:tags r:id="rId2"/>
            </p:custDataLst>
          </p:nvPr>
        </p:nvSpPr>
        <p:spPr bwMode="auto">
          <a:xfrm>
            <a:off x="2555778" y="1060687"/>
            <a:ext cx="3385815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ctr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endParaRPr lang="en-US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微波</a:t>
            </a:r>
            <a:r>
              <a:rPr lang="zh-CN" altLang="en-US" dirty="0" smtClean="0"/>
              <a:t>激励系统</a:t>
            </a:r>
            <a:endParaRPr lang="zh-CN" altLang="en-US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22"/>
          <p:cNvSpPr/>
          <p:nvPr>
            <p:custDataLst>
              <p:tags r:id="rId3"/>
            </p:custDataLst>
          </p:nvPr>
        </p:nvSpPr>
        <p:spPr bwMode="auto">
          <a:xfrm>
            <a:off x="0" y="1062262"/>
            <a:ext cx="5436096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信号源</a:t>
            </a:r>
            <a:endParaRPr lang="en-US" altLang="zh-CN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6" name="Rectangle 22"/>
          <p:cNvSpPr/>
          <p:nvPr>
            <p:custDataLst>
              <p:tags r:id="rId4"/>
            </p:custDataLst>
          </p:nvPr>
        </p:nvSpPr>
        <p:spPr bwMode="auto">
          <a:xfrm>
            <a:off x="5652122" y="1052738"/>
            <a:ext cx="3491879" cy="585589"/>
          </a:xfrm>
          <a:custGeom>
            <a:avLst/>
            <a:gdLst>
              <a:gd name="connsiteX0" fmla="*/ 0 w 4206255"/>
              <a:gd name="connsiteY0" fmla="*/ 0 h 576064"/>
              <a:gd name="connsiteX1" fmla="*/ 4206255 w 4206255"/>
              <a:gd name="connsiteY1" fmla="*/ 0 h 576064"/>
              <a:gd name="connsiteX2" fmla="*/ 4206255 w 4206255"/>
              <a:gd name="connsiteY2" fmla="*/ 576064 h 576064"/>
              <a:gd name="connsiteX3" fmla="*/ 0 w 4206255"/>
              <a:gd name="connsiteY3" fmla="*/ 576064 h 576064"/>
              <a:gd name="connsiteX4" fmla="*/ 0 w 4206255"/>
              <a:gd name="connsiteY4" fmla="*/ 0 h 576064"/>
              <a:gd name="connsiteX0-1" fmla="*/ 0 w 4749180"/>
              <a:gd name="connsiteY0-2" fmla="*/ 0 h 585589"/>
              <a:gd name="connsiteX1-3" fmla="*/ 4749180 w 4749180"/>
              <a:gd name="connsiteY1-4" fmla="*/ 9525 h 585589"/>
              <a:gd name="connsiteX2-5" fmla="*/ 4749180 w 4749180"/>
              <a:gd name="connsiteY2-6" fmla="*/ 585589 h 585589"/>
              <a:gd name="connsiteX3-7" fmla="*/ 542925 w 4749180"/>
              <a:gd name="connsiteY3-8" fmla="*/ 585589 h 585589"/>
              <a:gd name="connsiteX4-9" fmla="*/ 0 w 4749180"/>
              <a:gd name="connsiteY4-10" fmla="*/ 0 h 58558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749180" h="585589">
                <a:moveTo>
                  <a:pt x="0" y="0"/>
                </a:moveTo>
                <a:lnTo>
                  <a:pt x="4749180" y="9525"/>
                </a:lnTo>
                <a:lnTo>
                  <a:pt x="4749180" y="585589"/>
                </a:lnTo>
                <a:lnTo>
                  <a:pt x="542925" y="585589"/>
                </a:lnTo>
                <a:lnTo>
                  <a:pt x="0" y="0"/>
                </a:lnTo>
                <a:close/>
              </a:path>
            </a:pathLst>
          </a:custGeom>
          <a:solidFill>
            <a:srgbClr val="8E499C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21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           </a:t>
            </a: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升级改造</a:t>
            </a:r>
            <a:endParaRPr lang="en-US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56" name="矩形 55"/>
          <p:cNvSpPr>
            <a:spLocks noChangeArrowheads="1"/>
          </p:cNvSpPr>
          <p:nvPr/>
        </p:nvSpPr>
        <p:spPr bwMode="auto">
          <a:xfrm>
            <a:off x="179512" y="1772816"/>
            <a:ext cx="5256584" cy="4653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Blip>
                <a:blip r:embed="rId8"/>
              </a:buBlip>
              <a:defRPr sz="28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▒"/>
              <a:defRPr kumimoji="1" sz="2400">
                <a:solidFill>
                  <a:srgbClr val="0000FF"/>
                </a:solidFill>
                <a:latin typeface="Arial Narrow" panose="020B0606020202030204" pitchFamily="34" charset="0"/>
                <a:ea typeface="华文楷体" panose="02010600040101010101" pitchFamily="2" charset="-122"/>
                <a:cs typeface="华文楷体" panose="02010600040101010101" pitchFamily="2" charset="-122"/>
              </a:defRPr>
            </a:lvl2pPr>
            <a:lvl3pPr marL="1143000" indent="-228600">
              <a:spcBef>
                <a:spcPct val="20000"/>
              </a:spcBef>
              <a:buBlip>
                <a:blip r:embed="rId9"/>
              </a:buBlip>
              <a:defRPr kumimoji="1" sz="2000">
                <a:solidFill>
                  <a:srgbClr val="E46C0A"/>
                </a:solidFill>
                <a:latin typeface="Arial Narrow" panose="020B0606020202030204" pitchFamily="34" charset="0"/>
                <a:ea typeface="华文仿宋" panose="02010600040101010101" pitchFamily="2" charset="-122"/>
                <a:cs typeface="华文仿宋" panose="0201060004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9pPr>
          </a:lstStyle>
          <a:p>
            <a:pPr algn="just">
              <a:lnSpc>
                <a:spcPct val="130000"/>
              </a:lnSpc>
              <a:spcBef>
                <a:spcPct val="0"/>
              </a:spcBef>
              <a:buNone/>
            </a:pPr>
            <a:r>
              <a:rPr lang="zh-CN" altLang="en-US" sz="2400" b="0" dirty="0">
                <a:solidFill>
                  <a:srgbClr val="558ED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前端信号变换和分配部分的升级措施（</a:t>
            </a:r>
            <a:r>
              <a:rPr lang="en-US" altLang="zh-CN" sz="2400" b="0" dirty="0">
                <a:solidFill>
                  <a:srgbClr val="558ED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4</a:t>
            </a:r>
            <a:r>
              <a:rPr lang="zh-CN" altLang="en-US" sz="2400" b="0" dirty="0">
                <a:solidFill>
                  <a:srgbClr val="558ED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下半年）</a:t>
            </a:r>
          </a:p>
          <a:p>
            <a:pPr marL="285750" indent="-285750" algn="just">
              <a:lnSpc>
                <a:spcPct val="13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所有机箱模块化，各模块自带</a:t>
            </a:r>
            <a:r>
              <a:rPr lang="en-US" altLang="zh-CN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0.01℃</a:t>
            </a: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恒温控制；采用全导冷（无风扇），可靠性更高</a:t>
            </a:r>
          </a:p>
          <a:p>
            <a:pPr marL="285750" indent="-285750" algn="just">
              <a:lnSpc>
                <a:spcPct val="13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直线主振移至环中控室，直线接收中控激光调制和光纤传输过来的</a:t>
            </a:r>
            <a:r>
              <a:rPr lang="en-US" altLang="zh-CN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71.2 MHz</a:t>
            </a: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信号；光纤利用原控制系统已拉的一根单模光纤（环中控室→直线</a:t>
            </a:r>
            <a:r>
              <a:rPr lang="en-US" altLang="zh-CN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2</a:t>
            </a: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房间），又接了一段光纤（</a:t>
            </a:r>
            <a:r>
              <a:rPr lang="en-US" altLang="zh-CN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直线</a:t>
            </a:r>
            <a:r>
              <a:rPr lang="en-US" altLang="zh-CN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2</a:t>
            </a: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房间→</a:t>
            </a:r>
            <a:r>
              <a:rPr lang="en-US" altLang="zh-CN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K1</a:t>
            </a: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处机柜）</a:t>
            </a:r>
          </a:p>
          <a:p>
            <a:pPr marL="285750" indent="-285750" algn="just">
              <a:lnSpc>
                <a:spcPct val="13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原</a:t>
            </a:r>
            <a:r>
              <a:rPr lang="en-US" altLang="zh-CN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856 MHz</a:t>
            </a: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参考信号连续波</a:t>
            </a:r>
            <a:r>
              <a:rPr lang="en-US" altLang="zh-CN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0 W</a:t>
            </a: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7 </a:t>
            </a:r>
            <a:r>
              <a:rPr lang="en-US" altLang="zh-CN" sz="1800" b="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dBm</a:t>
            </a: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固放更换为功率约</a:t>
            </a:r>
            <a:r>
              <a:rPr lang="en-US" altLang="zh-CN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 W</a:t>
            </a: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8 </a:t>
            </a:r>
            <a:r>
              <a:rPr lang="en-US" altLang="zh-CN" sz="1800" b="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dBm</a:t>
            </a: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新固放模块，更低散热量有利于性能稳定</a:t>
            </a:r>
          </a:p>
        </p:txBody>
      </p:sp>
      <p:pic>
        <p:nvPicPr>
          <p:cNvPr id="7" name="图片 6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5572837" y="1929342"/>
            <a:ext cx="3344031" cy="4408841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7739600" y="6453338"/>
            <a:ext cx="11528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*</a:t>
            </a:r>
            <a:r>
              <a:rPr lang="zh-CN" altLang="en-US" sz="1400" dirty="0"/>
              <a:t>马新朋提供</a:t>
            </a: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780"/>
    </mc:Choice>
    <mc:Fallback xmlns="">
      <p:transition spd="slow" advTm="16780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22"/>
          <p:cNvSpPr/>
          <p:nvPr>
            <p:custDataLst>
              <p:tags r:id="rId2"/>
            </p:custDataLst>
          </p:nvPr>
        </p:nvSpPr>
        <p:spPr bwMode="auto">
          <a:xfrm>
            <a:off x="2555778" y="1060687"/>
            <a:ext cx="3385815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ctr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endParaRPr lang="en-US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微波</a:t>
            </a:r>
            <a:r>
              <a:rPr lang="zh-CN" altLang="en-US" dirty="0" smtClean="0"/>
              <a:t>激励系统</a:t>
            </a:r>
            <a:endParaRPr lang="zh-CN" altLang="en-US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22"/>
          <p:cNvSpPr/>
          <p:nvPr>
            <p:custDataLst>
              <p:tags r:id="rId3"/>
            </p:custDataLst>
          </p:nvPr>
        </p:nvSpPr>
        <p:spPr bwMode="auto">
          <a:xfrm>
            <a:off x="0" y="1062262"/>
            <a:ext cx="5436096" cy="576064"/>
          </a:xfrm>
          <a:custGeom>
            <a:avLst/>
            <a:gdLst>
              <a:gd name="connsiteX0" fmla="*/ 0 w 4860032"/>
              <a:gd name="connsiteY0" fmla="*/ 0 h 576064"/>
              <a:gd name="connsiteX1" fmla="*/ 4860032 w 4860032"/>
              <a:gd name="connsiteY1" fmla="*/ 0 h 576064"/>
              <a:gd name="connsiteX2" fmla="*/ 4860032 w 4860032"/>
              <a:gd name="connsiteY2" fmla="*/ 576064 h 576064"/>
              <a:gd name="connsiteX3" fmla="*/ 0 w 4860032"/>
              <a:gd name="connsiteY3" fmla="*/ 576064 h 576064"/>
              <a:gd name="connsiteX4" fmla="*/ 0 w 4860032"/>
              <a:gd name="connsiteY4" fmla="*/ 0 h 576064"/>
              <a:gd name="connsiteX0-1" fmla="*/ 0 w 4860032"/>
              <a:gd name="connsiteY0-2" fmla="*/ 0 h 576064"/>
              <a:gd name="connsiteX1-3" fmla="*/ 4317107 w 4860032"/>
              <a:gd name="connsiteY1-4" fmla="*/ 0 h 576064"/>
              <a:gd name="connsiteX2-5" fmla="*/ 4860032 w 4860032"/>
              <a:gd name="connsiteY2-6" fmla="*/ 576064 h 576064"/>
              <a:gd name="connsiteX3-7" fmla="*/ 0 w 4860032"/>
              <a:gd name="connsiteY3-8" fmla="*/ 576064 h 576064"/>
              <a:gd name="connsiteX4-9" fmla="*/ 0 w 4860032"/>
              <a:gd name="connsiteY4-10" fmla="*/ 0 h 57606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860032" h="576064">
                <a:moveTo>
                  <a:pt x="0" y="0"/>
                </a:moveTo>
                <a:lnTo>
                  <a:pt x="4317107" y="0"/>
                </a:lnTo>
                <a:lnTo>
                  <a:pt x="486003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rgbClr val="558ED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algn="ctr"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信号源</a:t>
            </a:r>
            <a:endParaRPr lang="en-US" altLang="zh-CN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6" name="Rectangle 22"/>
          <p:cNvSpPr/>
          <p:nvPr>
            <p:custDataLst>
              <p:tags r:id="rId4"/>
            </p:custDataLst>
          </p:nvPr>
        </p:nvSpPr>
        <p:spPr bwMode="auto">
          <a:xfrm>
            <a:off x="5652122" y="1052738"/>
            <a:ext cx="3491879" cy="585589"/>
          </a:xfrm>
          <a:custGeom>
            <a:avLst/>
            <a:gdLst>
              <a:gd name="connsiteX0" fmla="*/ 0 w 4206255"/>
              <a:gd name="connsiteY0" fmla="*/ 0 h 576064"/>
              <a:gd name="connsiteX1" fmla="*/ 4206255 w 4206255"/>
              <a:gd name="connsiteY1" fmla="*/ 0 h 576064"/>
              <a:gd name="connsiteX2" fmla="*/ 4206255 w 4206255"/>
              <a:gd name="connsiteY2" fmla="*/ 576064 h 576064"/>
              <a:gd name="connsiteX3" fmla="*/ 0 w 4206255"/>
              <a:gd name="connsiteY3" fmla="*/ 576064 h 576064"/>
              <a:gd name="connsiteX4" fmla="*/ 0 w 4206255"/>
              <a:gd name="connsiteY4" fmla="*/ 0 h 576064"/>
              <a:gd name="connsiteX0-1" fmla="*/ 0 w 4749180"/>
              <a:gd name="connsiteY0-2" fmla="*/ 0 h 585589"/>
              <a:gd name="connsiteX1-3" fmla="*/ 4749180 w 4749180"/>
              <a:gd name="connsiteY1-4" fmla="*/ 9525 h 585589"/>
              <a:gd name="connsiteX2-5" fmla="*/ 4749180 w 4749180"/>
              <a:gd name="connsiteY2-6" fmla="*/ 585589 h 585589"/>
              <a:gd name="connsiteX3-7" fmla="*/ 542925 w 4749180"/>
              <a:gd name="connsiteY3-8" fmla="*/ 585589 h 585589"/>
              <a:gd name="connsiteX4-9" fmla="*/ 0 w 4749180"/>
              <a:gd name="connsiteY4-10" fmla="*/ 0 h 58558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749180" h="585589">
                <a:moveTo>
                  <a:pt x="0" y="0"/>
                </a:moveTo>
                <a:lnTo>
                  <a:pt x="4749180" y="9525"/>
                </a:lnTo>
                <a:lnTo>
                  <a:pt x="4749180" y="585589"/>
                </a:lnTo>
                <a:lnTo>
                  <a:pt x="542925" y="585589"/>
                </a:lnTo>
                <a:lnTo>
                  <a:pt x="0" y="0"/>
                </a:lnTo>
                <a:close/>
              </a:path>
            </a:pathLst>
          </a:custGeom>
          <a:solidFill>
            <a:srgbClr val="8E499C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b"/>
          <a:lstStyle/>
          <a:p>
            <a:pPr defTabSz="913765">
              <a:lnSpc>
                <a:spcPct val="90000"/>
              </a:lnSpc>
              <a:spcBef>
                <a:spcPts val="630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21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            </a:t>
            </a: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升级改造</a:t>
            </a:r>
            <a:endParaRPr lang="en-US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56" name="矩形 55"/>
          <p:cNvSpPr>
            <a:spLocks noChangeArrowheads="1"/>
          </p:cNvSpPr>
          <p:nvPr/>
        </p:nvSpPr>
        <p:spPr bwMode="auto">
          <a:xfrm>
            <a:off x="179512" y="1772818"/>
            <a:ext cx="4176464" cy="2301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Blip>
                <a:blip r:embed="rId9"/>
              </a:buBlip>
              <a:defRPr sz="28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▒"/>
              <a:defRPr kumimoji="1" sz="2400">
                <a:solidFill>
                  <a:srgbClr val="0000FF"/>
                </a:solidFill>
                <a:latin typeface="Arial Narrow" panose="020B0606020202030204" pitchFamily="34" charset="0"/>
                <a:ea typeface="华文楷体" panose="02010600040101010101" pitchFamily="2" charset="-122"/>
                <a:cs typeface="华文楷体" panose="02010600040101010101" pitchFamily="2" charset="-122"/>
              </a:defRPr>
            </a:lvl2pPr>
            <a:lvl3pPr marL="1143000" indent="-228600">
              <a:spcBef>
                <a:spcPct val="20000"/>
              </a:spcBef>
              <a:buBlip>
                <a:blip r:embed="rId10"/>
              </a:buBlip>
              <a:defRPr kumimoji="1" sz="2000">
                <a:solidFill>
                  <a:srgbClr val="E46C0A"/>
                </a:solidFill>
                <a:latin typeface="Arial Narrow" panose="020B0606020202030204" pitchFamily="34" charset="0"/>
                <a:ea typeface="华文仿宋" panose="02010600040101010101" pitchFamily="2" charset="-122"/>
                <a:cs typeface="华文仿宋" panose="0201060004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  <a:cs typeface="Times New Roman" panose="02020603050405020304" pitchFamily="18" charset="0"/>
              </a:defRPr>
            </a:lvl9pPr>
          </a:lstStyle>
          <a:p>
            <a:pPr marL="285750" indent="-285750" algn="just">
              <a:lnSpc>
                <a:spcPct val="13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增加倍频器和</a:t>
            </a:r>
            <a:r>
              <a:rPr lang="en-US" altLang="zh-CN" sz="1600" b="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4</a:t>
            </a: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路相位监测单元，对</a:t>
            </a:r>
            <a:r>
              <a:rPr lang="en-US" altLang="zh-CN" sz="1600" b="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SHB</a:t>
            </a: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的两路信号进行倍频后，监测</a:t>
            </a:r>
            <a:r>
              <a:rPr lang="en-US" altLang="zh-CN" sz="1600" b="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42.8 MHz</a:t>
            </a: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sz="1600" b="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571.2 MHz</a:t>
            </a: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和功放后</a:t>
            </a:r>
            <a:r>
              <a:rPr lang="en-US" altLang="zh-CN" sz="1600" b="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856 MHz</a:t>
            </a: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三路间相位差（数据进入数据库）</a:t>
            </a:r>
            <a:endParaRPr lang="en-US" altLang="zh-CN" sz="1600" b="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285750" indent="-285750" algn="just">
              <a:lnSpc>
                <a:spcPct val="13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依然保留示波器监测三路信号稳定性，以此实现三个相位关系长期和短期同时监测</a:t>
            </a:r>
          </a:p>
          <a:p>
            <a:pPr marL="285750" indent="-285750" algn="just">
              <a:lnSpc>
                <a:spcPct val="13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增加温湿度监测数据进入数据库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7739600" y="6453338"/>
            <a:ext cx="11528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*</a:t>
            </a:r>
            <a:r>
              <a:rPr lang="zh-CN" altLang="en-US" sz="1400" dirty="0"/>
              <a:t>马新朋提供</a:t>
            </a:r>
          </a:p>
        </p:txBody>
      </p:sp>
      <p:pic>
        <p:nvPicPr>
          <p:cNvPr id="9" name="图片 8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4398164" y="1772818"/>
            <a:ext cx="4485903" cy="4678944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395536" y="4149080"/>
            <a:ext cx="3672408" cy="233901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36107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780"/>
    </mc:Choice>
    <mc:Fallback xmlns="">
      <p:transition spd="slow" advTm="16780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PP_MARK_KEY" val="aaf17701-1b5a-45a9-91bb-41ea31bb07cc"/>
  <p:tag name="COMMONDATA" val="eyJoZGlkIjoiNmNmNjRiOWQwMjY2MjZiMmY0M2Y5NmQ5NjZjMTY0MGYifQ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.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heme/theme1.xml><?xml version="1.0" encoding="utf-8"?>
<a:theme xmlns:a="http://schemas.openxmlformats.org/drawingml/2006/main" name="自訂設計">
  <a:themeElements>
    <a:clrScheme name="自訂設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自訂設計">
      <a:majorFont>
        <a:latin typeface="Arial"/>
        <a:ea typeface="新細明體"/>
        <a:cs typeface=""/>
      </a:majorFont>
      <a:minorFont>
        <a:latin typeface="Arial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PMingLiU" panose="02020500000000000000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PMingLiU" panose="02020500000000000000" pitchFamily="18" charset="-120"/>
          </a:defRPr>
        </a:defPPr>
      </a:lstStyle>
    </a:lnDef>
  </a:objectDefaults>
  <a:extraClrSchemeLst>
    <a:extraClrScheme>
      <a:clrScheme name="自訂設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580TGp_general_light_ani</Template>
  <TotalTime>382</TotalTime>
  <Words>1781</Words>
  <Application>Microsoft Office PowerPoint</Application>
  <PresentationFormat>全屏显示(4:3)</PresentationFormat>
  <Paragraphs>327</Paragraphs>
  <Slides>32</Slides>
  <Notes>23</Notes>
  <HiddenSlides>0</HiddenSlides>
  <MMClips>0</MMClips>
  <ScaleCrop>false</ScaleCrop>
  <HeadingPairs>
    <vt:vector size="6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32</vt:i4>
      </vt:variant>
    </vt:vector>
  </HeadingPairs>
  <TitlesOfParts>
    <vt:vector size="49" baseType="lpstr">
      <vt:lpstr>新細明體</vt:lpstr>
      <vt:lpstr>新細明體</vt:lpstr>
      <vt:lpstr>Segoe WP</vt:lpstr>
      <vt:lpstr>黑体</vt:lpstr>
      <vt:lpstr>华文楷体</vt:lpstr>
      <vt:lpstr>华文中宋</vt:lpstr>
      <vt:lpstr>宋体</vt:lpstr>
      <vt:lpstr>微软雅黑</vt:lpstr>
      <vt:lpstr>Arial</vt:lpstr>
      <vt:lpstr>Calibri</vt:lpstr>
      <vt:lpstr>Calibri Light</vt:lpstr>
      <vt:lpstr>Impact</vt:lpstr>
      <vt:lpstr>Segoe UI</vt:lpstr>
      <vt:lpstr>Times New Roman</vt:lpstr>
      <vt:lpstr>Wingdings</vt:lpstr>
      <vt:lpstr>自訂設計</vt:lpstr>
      <vt:lpstr>自定义设计方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微软中国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meGallery PowerTemplate</dc:title>
  <dc:creator>微软用户</dc:creator>
  <cp:lastModifiedBy>Hex</cp:lastModifiedBy>
  <cp:revision>2529</cp:revision>
  <dcterms:created xsi:type="dcterms:W3CDTF">2009-04-10T10:26:00Z</dcterms:created>
  <dcterms:modified xsi:type="dcterms:W3CDTF">2025-10-10T07:31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C4B44D2D76894D96ABE17E21C7D9B55C_12</vt:lpwstr>
  </property>
  <property fmtid="{D5CDD505-2E9C-101B-9397-08002B2CF9AE}" pid="3" name="KSOProductBuildVer">
    <vt:lpwstr>2052-11.1.0.14309</vt:lpwstr>
  </property>
</Properties>
</file>